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4" r:id="rId1"/>
  </p:sldMasterIdLst>
  <p:notesMasterIdLst>
    <p:notesMasterId r:id="rId9"/>
  </p:notesMasterIdLst>
  <p:sldIdLst>
    <p:sldId id="257" r:id="rId2"/>
    <p:sldId id="259" r:id="rId3"/>
    <p:sldId id="262" r:id="rId4"/>
    <p:sldId id="261" r:id="rId5"/>
    <p:sldId id="260" r:id="rId6"/>
    <p:sldId id="263" r:id="rId7"/>
    <p:sldId id="26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2525"/>
    <a:srgbClr val="002B49"/>
    <a:srgbClr val="0085CA"/>
    <a:srgbClr val="0064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E0BD40-89A8-4A1F-9F41-6C8E89AB2FBB}" v="224" dt="2019-06-14T21:51:12.0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68" d="100"/>
          <a:sy n="68" d="100"/>
        </p:scale>
        <p:origin x="54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lliam Hunter" userId="fe35ec8f832bb40a" providerId="LiveId" clId="{1CE0BD40-89A8-4A1F-9F41-6C8E89AB2FBB}"/>
    <pc:docChg chg="undo custSel addSld delSld modSld sldOrd addMainMaster delMainMaster modMainMaster">
      <pc:chgData name="William Hunter" userId="fe35ec8f832bb40a" providerId="LiveId" clId="{1CE0BD40-89A8-4A1F-9F41-6C8E89AB2FBB}" dt="2019-06-14T21:51:12.069" v="4058"/>
      <pc:docMkLst>
        <pc:docMk/>
      </pc:docMkLst>
      <pc:sldChg chg="del">
        <pc:chgData name="William Hunter" userId="fe35ec8f832bb40a" providerId="LiveId" clId="{1CE0BD40-89A8-4A1F-9F41-6C8E89AB2FBB}" dt="2019-06-14T16:38:41.599" v="5" actId="2696"/>
        <pc:sldMkLst>
          <pc:docMk/>
          <pc:sldMk cId="7006863" sldId="256"/>
        </pc:sldMkLst>
      </pc:sldChg>
      <pc:sldChg chg="modSp">
        <pc:chgData name="William Hunter" userId="fe35ec8f832bb40a" providerId="LiveId" clId="{1CE0BD40-89A8-4A1F-9F41-6C8E89AB2FBB}" dt="2019-06-14T16:39:01.266" v="71" actId="20577"/>
        <pc:sldMkLst>
          <pc:docMk/>
          <pc:sldMk cId="723306023" sldId="257"/>
        </pc:sldMkLst>
        <pc:spChg chg="mod">
          <ac:chgData name="William Hunter" userId="fe35ec8f832bb40a" providerId="LiveId" clId="{1CE0BD40-89A8-4A1F-9F41-6C8E89AB2FBB}" dt="2019-06-14T16:39:01.266" v="71" actId="20577"/>
          <ac:spMkLst>
            <pc:docMk/>
            <pc:sldMk cId="723306023" sldId="257"/>
            <ac:spMk id="18" creationId="{00000000-0000-0000-0000-000000000000}"/>
          </ac:spMkLst>
        </pc:spChg>
      </pc:sldChg>
      <pc:sldChg chg="del">
        <pc:chgData name="William Hunter" userId="fe35ec8f832bb40a" providerId="LiveId" clId="{1CE0BD40-89A8-4A1F-9F41-6C8E89AB2FBB}" dt="2019-06-14T21:43:38.241" v="3918" actId="2696"/>
        <pc:sldMkLst>
          <pc:docMk/>
          <pc:sldMk cId="150810068" sldId="258"/>
        </pc:sldMkLst>
      </pc:sldChg>
      <pc:sldChg chg="addSp delSp modSp add ord">
        <pc:chgData name="William Hunter" userId="fe35ec8f832bb40a" providerId="LiveId" clId="{1CE0BD40-89A8-4A1F-9F41-6C8E89AB2FBB}" dt="2019-06-14T21:44:09.494" v="3930" actId="207"/>
        <pc:sldMkLst>
          <pc:docMk/>
          <pc:sldMk cId="1391597717" sldId="259"/>
        </pc:sldMkLst>
        <pc:spChg chg="add del mod">
          <ac:chgData name="William Hunter" userId="fe35ec8f832bb40a" providerId="LiveId" clId="{1CE0BD40-89A8-4A1F-9F41-6C8E89AB2FBB}" dt="2019-06-14T17:46:35.407" v="203" actId="478"/>
          <ac:spMkLst>
            <pc:docMk/>
            <pc:sldMk cId="1391597717" sldId="259"/>
            <ac:spMk id="3" creationId="{82398D81-4D9E-4CD6-9E4C-1800BD51A561}"/>
          </ac:spMkLst>
        </pc:spChg>
        <pc:spChg chg="mod">
          <ac:chgData name="William Hunter" userId="fe35ec8f832bb40a" providerId="LiveId" clId="{1CE0BD40-89A8-4A1F-9F41-6C8E89AB2FBB}" dt="2019-06-14T17:36:38.261" v="96" actId="20577"/>
          <ac:spMkLst>
            <pc:docMk/>
            <pc:sldMk cId="1391597717" sldId="259"/>
            <ac:spMk id="6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7:46:32.329" v="200" actId="478"/>
          <ac:spMkLst>
            <pc:docMk/>
            <pc:sldMk cId="1391597717" sldId="259"/>
            <ac:spMk id="7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9" creationId="{D2FFAC38-3C3E-497A-8EC4-5B69E055003F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0" creationId="{2D6582F3-794A-45F3-99ED-193EEEEF4913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3" creationId="{64A59484-5114-42B3-B577-4DCFA59C0054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4" creationId="{4F394A2C-ED9E-4B44-B406-38E6BD4D58F8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5" creationId="{76D96CBB-7980-4C8F-B40A-E89D4502540C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6" creationId="{B2485977-8290-4C7E-BB27-E401AB3FF765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7" creationId="{6D16165F-899E-429B-85D4-8700274E4C0A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8" creationId="{9DE4F325-BBF1-4C14-96B8-2758CEE74F8E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9" creationId="{266B97FE-9E52-48B1-AB5D-EFEB607BA2EC}"/>
          </ac:spMkLst>
        </pc:spChg>
        <pc:spChg chg="add del mod">
          <ac:chgData name="William Hunter" userId="fe35ec8f832bb40a" providerId="LiveId" clId="{1CE0BD40-89A8-4A1F-9F41-6C8E89AB2FBB}" dt="2019-06-14T17:43:05.582" v="199" actId="20577"/>
          <ac:spMkLst>
            <pc:docMk/>
            <pc:sldMk cId="1391597717" sldId="259"/>
            <ac:spMk id="22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17:51:31.025" v="205" actId="207"/>
          <ac:spMkLst>
            <pc:docMk/>
            <pc:sldMk cId="1391597717" sldId="259"/>
            <ac:spMk id="25" creationId="{7DB0955A-E971-4B30-BB58-BE5E21B87E38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6" creationId="{F028FBAD-9998-48FC-AC99-DA3D0FCEE00A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7" creationId="{C0743BF0-67BC-4ACA-A6F1-A00AFAF1FD90}"/>
          </ac:spMkLst>
        </pc:spChg>
        <pc:spChg chg="add mod">
          <ac:chgData name="William Hunter" userId="fe35ec8f832bb40a" providerId="LiveId" clId="{1CE0BD40-89A8-4A1F-9F41-6C8E89AB2FBB}" dt="2019-06-14T17:56:12.271" v="213" actId="207"/>
          <ac:spMkLst>
            <pc:docMk/>
            <pc:sldMk cId="1391597717" sldId="259"/>
            <ac:spMk id="28" creationId="{54E45F92-0326-4467-A43B-2F0717CD3C87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9" creationId="{E118FC50-9421-4553-96D3-A6B246168FEB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0" creationId="{28C2B99E-A1B7-463D-B0D7-BDE5683472D5}"/>
          </ac:spMkLst>
        </pc:spChg>
        <pc:spChg chg="add mod">
          <ac:chgData name="William Hunter" userId="fe35ec8f832bb40a" providerId="LiveId" clId="{1CE0BD40-89A8-4A1F-9F41-6C8E89AB2FBB}" dt="2019-06-14T18:10:34.059" v="349" actId="1038"/>
          <ac:spMkLst>
            <pc:docMk/>
            <pc:sldMk cId="1391597717" sldId="259"/>
            <ac:spMk id="31" creationId="{20361811-E198-4368-BED2-843A53296E2E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2" creationId="{40E6C342-84C8-4B14-A238-65245998A1EC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3" creationId="{B0107170-0F62-4EF2-8A84-70B98950B457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7" creationId="{5614BE66-6275-4F17-9D0B-4F817163E6AA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8" creationId="{CE652E3A-DD45-4281-8A3C-151B41A6FDEE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9" creationId="{55CF7A5C-9F28-41C1-AF6C-51EA0B5C1048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0" creationId="{F5AA4DF5-74DB-416F-9949-8D2B77AD5685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1" creationId="{073DB959-DE39-4FA5-8BD0-64E4FCE85954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2" creationId="{D027DA4E-D42A-4808-A62F-B1EE54028748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3" creationId="{32E83253-083C-41CD-82EE-E37BB198D353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4" creationId="{009D5764-E7E6-43BC-970D-CCBEBC17D35A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5" creationId="{FAE679AA-46DF-4A27-8CC1-A85B70652503}"/>
          </ac:spMkLst>
        </pc:spChg>
        <pc:picChg chg="add del mod">
          <ac:chgData name="William Hunter" userId="fe35ec8f832bb40a" providerId="LiveId" clId="{1CE0BD40-89A8-4A1F-9F41-6C8E89AB2FBB}" dt="2019-06-14T18:04:16.558" v="223" actId="478"/>
          <ac:picMkLst>
            <pc:docMk/>
            <pc:sldMk cId="1391597717" sldId="259"/>
            <ac:picMk id="5" creationId="{2BB99E6F-CFA8-478E-ACBA-CC0EC0914D54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0" creationId="{54D5D958-15BC-4122-8916-3417DCAE4F36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1" creationId="{D416A9A0-145A-496D-8433-F142DF0127DB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3" creationId="{C2B27AB3-8C84-43B9-933F-B93E9F94D4FA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4" creationId="{9AC5BA20-FAF9-462A-9D68-54137A2CD44A}"/>
          </ac:picMkLst>
        </pc:picChg>
        <pc:picChg chg="add del">
          <ac:chgData name="William Hunter" userId="fe35ec8f832bb40a" providerId="LiveId" clId="{1CE0BD40-89A8-4A1F-9F41-6C8E89AB2FBB}" dt="2019-06-14T18:06:08.607" v="233" actId="478"/>
          <ac:picMkLst>
            <pc:docMk/>
            <pc:sldMk cId="1391597717" sldId="259"/>
            <ac:picMk id="34" creationId="{C094D169-50C3-4ED6-8373-56FE51E643FC}"/>
          </ac:picMkLst>
        </pc:picChg>
        <pc:picChg chg="add del">
          <ac:chgData name="William Hunter" userId="fe35ec8f832bb40a" providerId="LiveId" clId="{1CE0BD40-89A8-4A1F-9F41-6C8E89AB2FBB}" dt="2019-06-14T18:06:32.227" v="244" actId="478"/>
          <ac:picMkLst>
            <pc:docMk/>
            <pc:sldMk cId="1391597717" sldId="259"/>
            <ac:picMk id="35" creationId="{1370A5DE-7941-4127-BFAF-D821C3CE6A52}"/>
          </ac:picMkLst>
        </pc:picChg>
        <pc:picChg chg="add del">
          <ac:chgData name="William Hunter" userId="fe35ec8f832bb40a" providerId="LiveId" clId="{1CE0BD40-89A8-4A1F-9F41-6C8E89AB2FBB}" dt="2019-06-14T18:06:22.237" v="241" actId="478"/>
          <ac:picMkLst>
            <pc:docMk/>
            <pc:sldMk cId="1391597717" sldId="259"/>
            <ac:picMk id="36" creationId="{97E4AFA5-04ED-4649-A930-C43256694D06}"/>
          </ac:picMkLst>
        </pc:picChg>
        <pc:picChg chg="add del">
          <ac:chgData name="William Hunter" userId="fe35ec8f832bb40a" providerId="LiveId" clId="{1CE0BD40-89A8-4A1F-9F41-6C8E89AB2FBB}" dt="2019-06-14T18:06:33.530" v="245" actId="478"/>
          <ac:picMkLst>
            <pc:docMk/>
            <pc:sldMk cId="1391597717" sldId="259"/>
            <ac:picMk id="37" creationId="{1406C862-003C-44CC-8127-B3A08099BD8A}"/>
          </ac:picMkLst>
        </pc:picChg>
        <pc:picChg chg="add del mod modCrop">
          <ac:chgData name="William Hunter" userId="fe35ec8f832bb40a" providerId="LiveId" clId="{1CE0BD40-89A8-4A1F-9F41-6C8E89AB2FBB}" dt="2019-06-14T18:05:11.345" v="231" actId="478"/>
          <ac:picMkLst>
            <pc:docMk/>
            <pc:sldMk cId="1391597717" sldId="259"/>
            <ac:picMk id="38" creationId="{F50DA50C-3B39-43A1-8AD3-254F7E19BB88}"/>
          </ac:picMkLst>
        </pc:picChg>
        <pc:picChg chg="add mod">
          <ac:chgData name="William Hunter" userId="fe35ec8f832bb40a" providerId="LiveId" clId="{1CE0BD40-89A8-4A1F-9F41-6C8E89AB2FBB}" dt="2019-06-14T18:06:35.991" v="247" actId="1076"/>
          <ac:picMkLst>
            <pc:docMk/>
            <pc:sldMk cId="1391597717" sldId="259"/>
            <ac:picMk id="40" creationId="{45395CED-E728-4EAC-9C76-602891650355}"/>
          </ac:picMkLst>
        </pc:picChg>
        <pc:picChg chg="add del mod">
          <ac:chgData name="William Hunter" userId="fe35ec8f832bb40a" providerId="LiveId" clId="{1CE0BD40-89A8-4A1F-9F41-6C8E89AB2FBB}" dt="2019-06-14T18:09:13.083" v="338" actId="478"/>
          <ac:picMkLst>
            <pc:docMk/>
            <pc:sldMk cId="1391597717" sldId="259"/>
            <ac:picMk id="42" creationId="{03D8C87D-AB74-42CD-BD86-5CEC52673A88}"/>
          </ac:picMkLst>
        </pc:picChg>
        <pc:picChg chg="add mod">
          <ac:chgData name="William Hunter" userId="fe35ec8f832bb40a" providerId="LiveId" clId="{1CE0BD40-89A8-4A1F-9F41-6C8E89AB2FBB}" dt="2019-06-14T18:10:24.768" v="348" actId="1076"/>
          <ac:picMkLst>
            <pc:docMk/>
            <pc:sldMk cId="1391597717" sldId="259"/>
            <ac:picMk id="44" creationId="{9BA82E3A-0B43-4B51-8444-DB0C4D44F10E}"/>
          </ac:picMkLst>
        </pc:picChg>
        <pc:picChg chg="add mod">
          <ac:chgData name="William Hunter" userId="fe35ec8f832bb40a" providerId="LiveId" clId="{1CE0BD40-89A8-4A1F-9F41-6C8E89AB2FBB}" dt="2019-06-14T18:11:35.492" v="380" actId="1076"/>
          <ac:picMkLst>
            <pc:docMk/>
            <pc:sldMk cId="1391597717" sldId="259"/>
            <ac:picMk id="46" creationId="{1004E45A-8D27-4C11-8F71-5485202FE490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6" creationId="{B15218E1-223C-4CDD-96AF-E39857547250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7" creationId="{ED7BDF4B-45F0-4D85-9B45-259AE4648987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8" creationId="{7F4E7667-6AD9-4219-BBD7-E9210870C722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9" creationId="{62823C24-DC04-4D23-AC97-0C4C029FE200}"/>
          </ac:picMkLst>
        </pc:picChg>
      </pc:sldChg>
      <pc:sldChg chg="del">
        <pc:chgData name="William Hunter" userId="fe35ec8f832bb40a" providerId="LiveId" clId="{1CE0BD40-89A8-4A1F-9F41-6C8E89AB2FBB}" dt="2019-06-14T16:38:40.370" v="0" actId="2696"/>
        <pc:sldMkLst>
          <pc:docMk/>
          <pc:sldMk cId="3255939990" sldId="259"/>
        </pc:sldMkLst>
      </pc:sldChg>
      <pc:sldChg chg="add del">
        <pc:chgData name="William Hunter" userId="fe35ec8f832bb40a" providerId="LiveId" clId="{1CE0BD40-89A8-4A1F-9F41-6C8E89AB2FBB}" dt="2019-06-14T17:42:36.421" v="146" actId="27028"/>
        <pc:sldMkLst>
          <pc:docMk/>
          <pc:sldMk cId="278067883" sldId="260"/>
        </pc:sldMkLst>
      </pc:sldChg>
      <pc:sldChg chg="add del ord">
        <pc:chgData name="William Hunter" userId="fe35ec8f832bb40a" providerId="LiveId" clId="{1CE0BD40-89A8-4A1F-9F41-6C8E89AB2FBB}" dt="2019-06-14T17:56:35.360" v="215" actId="2696"/>
        <pc:sldMkLst>
          <pc:docMk/>
          <pc:sldMk cId="510079589" sldId="260"/>
        </pc:sldMkLst>
      </pc:sldChg>
      <pc:sldChg chg="del">
        <pc:chgData name="William Hunter" userId="fe35ec8f832bb40a" providerId="LiveId" clId="{1CE0BD40-89A8-4A1F-9F41-6C8E89AB2FBB}" dt="2019-06-14T16:38:40.405" v="1" actId="2696"/>
        <pc:sldMkLst>
          <pc:docMk/>
          <pc:sldMk cId="2073291721" sldId="260"/>
        </pc:sldMkLst>
      </pc:sldChg>
      <pc:sldChg chg="addSp delSp modSp add modAnim">
        <pc:chgData name="William Hunter" userId="fe35ec8f832bb40a" providerId="LiveId" clId="{1CE0BD40-89A8-4A1F-9F41-6C8E89AB2FBB}" dt="2019-06-14T21:44:45.408" v="3951" actId="20577"/>
        <pc:sldMkLst>
          <pc:docMk/>
          <pc:sldMk cId="3760727422" sldId="260"/>
        </pc:sldMkLst>
        <pc:spChg chg="add del mo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2" creationId="{60147CAE-1D06-4BA0-B7CC-BC106CE67244}"/>
          </ac:spMkLst>
        </pc:spChg>
        <pc:spChg chg="add del mod or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3" creationId="{93A53642-5AF8-4140-9F94-E2710608E8F6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" creationId="{C978FDC4-7A22-4C71-B6AB-AA733DE25FB5}"/>
          </ac:spMkLst>
        </pc:spChg>
        <pc:spChg chg="mod">
          <ac:chgData name="William Hunter" userId="fe35ec8f832bb40a" providerId="LiveId" clId="{1CE0BD40-89A8-4A1F-9F41-6C8E89AB2FBB}" dt="2019-06-14T18:41:43.075" v="1089"/>
          <ac:spMkLst>
            <pc:docMk/>
            <pc:sldMk cId="3760727422" sldId="260"/>
            <ac:spMk id="6" creationId="{00000000-0000-0000-0000-000000000000}"/>
          </ac:spMkLst>
        </pc:spChg>
        <pc:spChg chg="add mod or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8" creationId="{9546AE66-BDDF-4C84-A5C4-DD38B22E179B}"/>
          </ac:spMkLst>
        </pc:spChg>
        <pc:spChg chg="add mod or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9" creationId="{DFCFF86C-9CC6-41D8-B1C7-B6C5C8C45675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10" creationId="{D1BCECDE-7806-41B5-B30C-8344259DD9B7}"/>
          </ac:spMkLst>
        </pc:spChg>
        <pc:spChg chg="add mod">
          <ac:chgData name="William Hunter" userId="fe35ec8f832bb40a" providerId="LiveId" clId="{1CE0BD40-89A8-4A1F-9F41-6C8E89AB2FBB}" dt="2019-06-14T21:44:31.502" v="3932" actId="20577"/>
          <ac:spMkLst>
            <pc:docMk/>
            <pc:sldMk cId="3760727422" sldId="260"/>
            <ac:spMk id="13" creationId="{137943DC-EE1D-4EF5-80F5-25804F99F6F4}"/>
          </ac:spMkLst>
        </pc:spChg>
        <pc:spChg chg="add del mod ord">
          <ac:chgData name="William Hunter" userId="fe35ec8f832bb40a" providerId="LiveId" clId="{1CE0BD40-89A8-4A1F-9F41-6C8E89AB2FBB}" dt="2019-06-14T18:30:40.565" v="770" actId="11529"/>
          <ac:spMkLst>
            <pc:docMk/>
            <pc:sldMk cId="3760727422" sldId="260"/>
            <ac:spMk id="14" creationId="{E9D2A0C5-516B-4439-B7BA-99B1B429CE03}"/>
          </ac:spMkLst>
        </pc:spChg>
        <pc:spChg chg="add del mod">
          <ac:chgData name="William Hunter" userId="fe35ec8f832bb40a" providerId="LiveId" clId="{1CE0BD40-89A8-4A1F-9F41-6C8E89AB2FBB}" dt="2019-06-14T18:17:48.326" v="452" actId="478"/>
          <ac:spMkLst>
            <pc:docMk/>
            <pc:sldMk cId="3760727422" sldId="260"/>
            <ac:spMk id="19" creationId="{5FF7234F-F15F-46C8-8ECA-64A8E15AB08C}"/>
          </ac:spMkLst>
        </pc:spChg>
        <pc:spChg chg="add del mo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20" creationId="{B4F74495-ED50-474B-8587-BAC5B32C754F}"/>
          </ac:spMkLst>
        </pc:spChg>
        <pc:spChg chg="mod">
          <ac:chgData name="William Hunter" userId="fe35ec8f832bb40a" providerId="LiveId" clId="{1CE0BD40-89A8-4A1F-9F41-6C8E89AB2FBB}" dt="2019-06-14T18:41:47.267" v="1104" actId="20577"/>
          <ac:spMkLst>
            <pc:docMk/>
            <pc:sldMk cId="3760727422" sldId="260"/>
            <ac:spMk id="22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8:17:02.853" v="435" actId="478"/>
          <ac:spMkLst>
            <pc:docMk/>
            <pc:sldMk cId="3760727422" sldId="260"/>
            <ac:spMk id="25" creationId="{7DB0955A-E971-4B30-BB58-BE5E21B87E38}"/>
          </ac:spMkLst>
        </pc:spChg>
        <pc:spChg chg="del">
          <ac:chgData name="William Hunter" userId="fe35ec8f832bb40a" providerId="LiveId" clId="{1CE0BD40-89A8-4A1F-9F41-6C8E89AB2FBB}" dt="2019-06-14T18:17:02.481" v="434" actId="478"/>
          <ac:spMkLst>
            <pc:docMk/>
            <pc:sldMk cId="3760727422" sldId="260"/>
            <ac:spMk id="26" creationId="{F028FBAD-9998-48FC-AC99-DA3D0FCEE00A}"/>
          </ac:spMkLst>
        </pc:spChg>
        <pc:spChg chg="del">
          <ac:chgData name="William Hunter" userId="fe35ec8f832bb40a" providerId="LiveId" clId="{1CE0BD40-89A8-4A1F-9F41-6C8E89AB2FBB}" dt="2019-06-14T18:16:59.149" v="432" actId="478"/>
          <ac:spMkLst>
            <pc:docMk/>
            <pc:sldMk cId="3760727422" sldId="260"/>
            <ac:spMk id="27" creationId="{C0743BF0-67BC-4ACA-A6F1-A00AFAF1FD90}"/>
          </ac:spMkLst>
        </pc:spChg>
        <pc:spChg chg="del">
          <ac:chgData name="William Hunter" userId="fe35ec8f832bb40a" providerId="LiveId" clId="{1CE0BD40-89A8-4A1F-9F41-6C8E89AB2FBB}" dt="2019-06-14T18:16:58.239" v="430" actId="478"/>
          <ac:spMkLst>
            <pc:docMk/>
            <pc:sldMk cId="3760727422" sldId="260"/>
            <ac:spMk id="28" creationId="{54E45F92-0326-4467-A43B-2F0717CD3C87}"/>
          </ac:spMkLst>
        </pc:spChg>
        <pc:spChg chg="del">
          <ac:chgData name="William Hunter" userId="fe35ec8f832bb40a" providerId="LiveId" clId="{1CE0BD40-89A8-4A1F-9F41-6C8E89AB2FBB}" dt="2019-06-14T18:16:57.350" v="429" actId="478"/>
          <ac:spMkLst>
            <pc:docMk/>
            <pc:sldMk cId="3760727422" sldId="260"/>
            <ac:spMk id="29" creationId="{E118FC50-9421-4553-96D3-A6B246168FEB}"/>
          </ac:spMkLst>
        </pc:spChg>
        <pc:spChg chg="del">
          <ac:chgData name="William Hunter" userId="fe35ec8f832bb40a" providerId="LiveId" clId="{1CE0BD40-89A8-4A1F-9F41-6C8E89AB2FBB}" dt="2019-06-14T18:16:56.716" v="428" actId="478"/>
          <ac:spMkLst>
            <pc:docMk/>
            <pc:sldMk cId="3760727422" sldId="260"/>
            <ac:spMk id="30" creationId="{28C2B99E-A1B7-463D-B0D7-BDE5683472D5}"/>
          </ac:spMkLst>
        </pc:spChg>
        <pc:spChg chg="del">
          <ac:chgData name="William Hunter" userId="fe35ec8f832bb40a" providerId="LiveId" clId="{1CE0BD40-89A8-4A1F-9F41-6C8E89AB2FBB}" dt="2019-06-14T18:17:04.443" v="438" actId="478"/>
          <ac:spMkLst>
            <pc:docMk/>
            <pc:sldMk cId="3760727422" sldId="260"/>
            <ac:spMk id="31" creationId="{20361811-E198-4368-BED2-843A53296E2E}"/>
          </ac:spMkLst>
        </pc:spChg>
        <pc:spChg chg="del">
          <ac:chgData name="William Hunter" userId="fe35ec8f832bb40a" providerId="LiveId" clId="{1CE0BD40-89A8-4A1F-9F41-6C8E89AB2FBB}" dt="2019-06-14T18:17:03.528" v="436" actId="478"/>
          <ac:spMkLst>
            <pc:docMk/>
            <pc:sldMk cId="3760727422" sldId="260"/>
            <ac:spMk id="32" creationId="{40E6C342-84C8-4B14-A238-65245998A1EC}"/>
          </ac:spMkLst>
        </pc:spChg>
        <pc:spChg chg="del mod">
          <ac:chgData name="William Hunter" userId="fe35ec8f832bb40a" providerId="LiveId" clId="{1CE0BD40-89A8-4A1F-9F41-6C8E89AB2FBB}" dt="2019-06-14T18:17:05.730" v="440" actId="478"/>
          <ac:spMkLst>
            <pc:docMk/>
            <pc:sldMk cId="3760727422" sldId="260"/>
            <ac:spMk id="33" creationId="{B0107170-0F62-4EF2-8A84-70B98950B457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4" creationId="{09D5ED09-5DD3-43D6-B109-B0A56A814B2B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5" creationId="{FBF26284-AFDE-4F17-9202-581E83C51075}"/>
          </ac:spMkLst>
        </pc:spChg>
        <pc:spChg chg="add mod">
          <ac:chgData name="William Hunter" userId="fe35ec8f832bb40a" providerId="LiveId" clId="{1CE0BD40-89A8-4A1F-9F41-6C8E89AB2FBB}" dt="2019-06-14T18:44:14.969" v="1114" actId="1037"/>
          <ac:spMkLst>
            <pc:docMk/>
            <pc:sldMk cId="3760727422" sldId="260"/>
            <ac:spMk id="36" creationId="{7741F30F-1EB9-4866-A556-A4F79975B19A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38" creationId="{F9C667A1-B6A3-417C-AB1C-3D67A453BA4A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9" creationId="{D439D7C7-D78F-4CE2-BEE2-7A28841CC200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1" creationId="{839FD77E-2F70-424C-AB0B-BD98089B89A7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2" creationId="{0DC558C4-B843-4547-B985-B998B2F13B0E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45" creationId="{58EA476C-97EB-4E66-8EE3-FF0F83E021A4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7" creationId="{CB2BF2DA-6A72-4B14-A4BD-B0CEE8D9EC4A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8" creationId="{A9A784DC-2C2F-41F2-8DCF-A2EFBD074317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9" creationId="{503F7C0A-F978-4D52-ADA7-88E9E294CBBA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51" creationId="{532F6E06-81F9-45E5-BCA6-3A9C2E1C2073}"/>
          </ac:spMkLst>
        </pc:spChg>
        <pc:spChg chg="add mod">
          <ac:chgData name="William Hunter" userId="fe35ec8f832bb40a" providerId="LiveId" clId="{1CE0BD40-89A8-4A1F-9F41-6C8E89AB2FBB}" dt="2019-06-14T21:44:30.186" v="3931" actId="20577"/>
          <ac:spMkLst>
            <pc:docMk/>
            <pc:sldMk cId="3760727422" sldId="260"/>
            <ac:spMk id="52" creationId="{5BEECCD7-8EAF-4DD9-9C03-8FB2B2BB8BC4}"/>
          </ac:spMkLst>
        </pc:spChg>
        <pc:spChg chg="add mod">
          <ac:chgData name="William Hunter" userId="fe35ec8f832bb40a" providerId="LiveId" clId="{1CE0BD40-89A8-4A1F-9F41-6C8E89AB2FBB}" dt="2019-06-14T21:44:32.687" v="3933" actId="20577"/>
          <ac:spMkLst>
            <pc:docMk/>
            <pc:sldMk cId="3760727422" sldId="260"/>
            <ac:spMk id="53" creationId="{19769527-C203-4561-B18D-9D7B5434E594}"/>
          </ac:spMkLst>
        </pc:spChg>
        <pc:spChg chg="add mod">
          <ac:chgData name="William Hunter" userId="fe35ec8f832bb40a" providerId="LiveId" clId="{1CE0BD40-89A8-4A1F-9F41-6C8E89AB2FBB}" dt="2019-06-14T21:44:45.408" v="3951" actId="20577"/>
          <ac:spMkLst>
            <pc:docMk/>
            <pc:sldMk cId="3760727422" sldId="260"/>
            <ac:spMk id="54" creationId="{D49E5F34-A63E-4187-9E96-2D2B6D4A3CA2}"/>
          </ac:spMkLst>
        </pc:spChg>
        <pc:picChg chg="add mod">
          <ac:chgData name="William Hunter" userId="fe35ec8f832bb40a" providerId="LiveId" clId="{1CE0BD40-89A8-4A1F-9F41-6C8E89AB2FBB}" dt="2019-06-14T18:31:33.468" v="777" actId="1076"/>
          <ac:picMkLst>
            <pc:docMk/>
            <pc:sldMk cId="3760727422" sldId="260"/>
            <ac:picMk id="7" creationId="{A44575F7-A50E-4031-8F01-9F71F8568541}"/>
          </ac:picMkLst>
        </pc:picChg>
        <pc:picChg chg="add mod">
          <ac:chgData name="William Hunter" userId="fe35ec8f832bb40a" providerId="LiveId" clId="{1CE0BD40-89A8-4A1F-9F41-6C8E89AB2FBB}" dt="2019-06-14T18:44:17.657" v="1115" actId="1038"/>
          <ac:picMkLst>
            <pc:docMk/>
            <pc:sldMk cId="3760727422" sldId="260"/>
            <ac:picMk id="37" creationId="{97DAE872-F231-4EBA-A26E-8C8CFA79B1FD}"/>
          </ac:picMkLst>
        </pc:picChg>
        <pc:picChg chg="del">
          <ac:chgData name="William Hunter" userId="fe35ec8f832bb40a" providerId="LiveId" clId="{1CE0BD40-89A8-4A1F-9F41-6C8E89AB2FBB}" dt="2019-06-14T18:17:04.192" v="437" actId="478"/>
          <ac:picMkLst>
            <pc:docMk/>
            <pc:sldMk cId="3760727422" sldId="260"/>
            <ac:picMk id="40" creationId="{45395CED-E728-4EAC-9C76-602891650355}"/>
          </ac:picMkLst>
        </pc:picChg>
        <pc:picChg chg="add mod">
          <ac:chgData name="William Hunter" userId="fe35ec8f832bb40a" providerId="LiveId" clId="{1CE0BD40-89A8-4A1F-9F41-6C8E89AB2FBB}" dt="2019-06-14T18:31:33.468" v="777" actId="1076"/>
          <ac:picMkLst>
            <pc:docMk/>
            <pc:sldMk cId="3760727422" sldId="260"/>
            <ac:picMk id="43" creationId="{EE7B47E1-8AAF-4681-B6A1-1CDD837B9F76}"/>
          </ac:picMkLst>
        </pc:picChg>
        <pc:picChg chg="del">
          <ac:chgData name="William Hunter" userId="fe35ec8f832bb40a" providerId="LiveId" clId="{1CE0BD40-89A8-4A1F-9F41-6C8E89AB2FBB}" dt="2019-06-14T18:16:58.360" v="431" actId="478"/>
          <ac:picMkLst>
            <pc:docMk/>
            <pc:sldMk cId="3760727422" sldId="260"/>
            <ac:picMk id="44" creationId="{9BA82E3A-0B43-4B51-8444-DB0C4D44F10E}"/>
          </ac:picMkLst>
        </pc:picChg>
        <pc:picChg chg="del">
          <ac:chgData name="William Hunter" userId="fe35ec8f832bb40a" providerId="LiveId" clId="{1CE0BD40-89A8-4A1F-9F41-6C8E89AB2FBB}" dt="2019-06-14T18:17:00.120" v="433" actId="478"/>
          <ac:picMkLst>
            <pc:docMk/>
            <pc:sldMk cId="3760727422" sldId="260"/>
            <ac:picMk id="46" creationId="{1004E45A-8D27-4C11-8F71-5485202FE490}"/>
          </ac:picMkLst>
        </pc:picChg>
        <pc:picChg chg="add mod">
          <ac:chgData name="William Hunter" userId="fe35ec8f832bb40a" providerId="LiveId" clId="{1CE0BD40-89A8-4A1F-9F41-6C8E89AB2FBB}" dt="2019-06-14T18:34:28.503" v="912" actId="1076"/>
          <ac:picMkLst>
            <pc:docMk/>
            <pc:sldMk cId="3760727422" sldId="260"/>
            <ac:picMk id="50" creationId="{A49C0871-A1EC-4B4E-A1EE-91B33001AC1E}"/>
          </ac:picMkLst>
        </pc:picChg>
      </pc:sldChg>
      <pc:sldChg chg="del">
        <pc:chgData name="William Hunter" userId="fe35ec8f832bb40a" providerId="LiveId" clId="{1CE0BD40-89A8-4A1F-9F41-6C8E89AB2FBB}" dt="2019-06-14T16:38:40.416" v="2" actId="2696"/>
        <pc:sldMkLst>
          <pc:docMk/>
          <pc:sldMk cId="34028261" sldId="261"/>
        </pc:sldMkLst>
      </pc:sldChg>
      <pc:sldChg chg="modSp add del">
        <pc:chgData name="William Hunter" userId="fe35ec8f832bb40a" providerId="LiveId" clId="{1CE0BD40-89A8-4A1F-9F41-6C8E89AB2FBB}" dt="2019-06-14T18:43:49.945" v="1105" actId="2696"/>
        <pc:sldMkLst>
          <pc:docMk/>
          <pc:sldMk cId="1332928737" sldId="261"/>
        </pc:sldMkLst>
        <pc:spChg chg="mod">
          <ac:chgData name="William Hunter" userId="fe35ec8f832bb40a" providerId="LiveId" clId="{1CE0BD40-89A8-4A1F-9F41-6C8E89AB2FBB}" dt="2019-06-14T18:17:29.406" v="444" actId="1076"/>
          <ac:spMkLst>
            <pc:docMk/>
            <pc:sldMk cId="1332928737" sldId="261"/>
            <ac:spMk id="10" creationId="{A5DD00E6-5D64-4E46-BCE8-33F57976F8C2}"/>
          </ac:spMkLst>
        </pc:spChg>
      </pc:sldChg>
      <pc:sldChg chg="addSp delSp modSp add ord">
        <pc:chgData name="William Hunter" userId="fe35ec8f832bb40a" providerId="LiveId" clId="{1CE0BD40-89A8-4A1F-9F41-6C8E89AB2FBB}" dt="2019-06-14T21:51:12.069" v="4058"/>
        <pc:sldMkLst>
          <pc:docMk/>
          <pc:sldMk cId="3046290048" sldId="261"/>
        </pc:sldMkLst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" creationId="{C978FDC4-7A22-4C71-B6AB-AA733DE25FB5}"/>
          </ac:spMkLst>
        </pc:spChg>
        <pc:spChg chg="mod">
          <ac:chgData name="William Hunter" userId="fe35ec8f832bb40a" providerId="LiveId" clId="{1CE0BD40-89A8-4A1F-9F41-6C8E89AB2FBB}" dt="2019-06-14T19:09:35.453" v="1140" actId="20577"/>
          <ac:spMkLst>
            <pc:docMk/>
            <pc:sldMk cId="3046290048" sldId="261"/>
            <ac:spMk id="6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8" creationId="{9546AE66-BDDF-4C84-A5C4-DD38B22E179B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9" creationId="{DFCFF86C-9CC6-41D8-B1C7-B6C5C8C45675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10" creationId="{D1BCECDE-7806-41B5-B30C-8344259DD9B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13" creationId="{137943DC-EE1D-4EF5-80F5-25804F99F6F4}"/>
          </ac:spMkLst>
        </pc:spChg>
        <pc:spChg chg="add mod">
          <ac:chgData name="William Hunter" userId="fe35ec8f832bb40a" providerId="LiveId" clId="{1CE0BD40-89A8-4A1F-9F41-6C8E89AB2FBB}" dt="2019-06-14T20:39:47.392" v="1743" actId="207"/>
          <ac:spMkLst>
            <pc:docMk/>
            <pc:sldMk cId="3046290048" sldId="261"/>
            <ac:spMk id="30" creationId="{D7DDFAB1-270C-47A1-A5ED-3CA321EE66EB}"/>
          </ac:spMkLst>
        </pc:spChg>
        <pc:spChg chg="add mod">
          <ac:chgData name="William Hunter" userId="fe35ec8f832bb40a" providerId="LiveId" clId="{1CE0BD40-89A8-4A1F-9F41-6C8E89AB2FBB}" dt="2019-06-14T20:39:45.505" v="1742" actId="207"/>
          <ac:spMkLst>
            <pc:docMk/>
            <pc:sldMk cId="3046290048" sldId="261"/>
            <ac:spMk id="31" creationId="{573F3348-98AD-43BF-9A82-75F7873CF092}"/>
          </ac:spMkLst>
        </pc:spChg>
        <pc:spChg chg="add mod">
          <ac:chgData name="William Hunter" userId="fe35ec8f832bb40a" providerId="LiveId" clId="{1CE0BD40-89A8-4A1F-9F41-6C8E89AB2FBB}" dt="2019-06-14T20:39:42.978" v="1741" actId="207"/>
          <ac:spMkLst>
            <pc:docMk/>
            <pc:sldMk cId="3046290048" sldId="261"/>
            <ac:spMk id="32" creationId="{686BB467-BA4F-4D39-8446-0EBE223B8C3A}"/>
          </ac:spMkLst>
        </pc:spChg>
        <pc:spChg chg="add mod">
          <ac:chgData name="William Hunter" userId="fe35ec8f832bb40a" providerId="LiveId" clId="{1CE0BD40-89A8-4A1F-9F41-6C8E89AB2FBB}" dt="2019-06-14T19:13:31.556" v="1293" actId="207"/>
          <ac:spMkLst>
            <pc:docMk/>
            <pc:sldMk cId="3046290048" sldId="261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4" creationId="{09D5ED09-5DD3-43D6-B109-B0A56A814B2B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5" creationId="{FBF26284-AFDE-4F17-9202-581E83C51075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6" creationId="{7741F30F-1EB9-4866-A556-A4F79975B19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8" creationId="{F9C667A1-B6A3-417C-AB1C-3D67A453BA4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9" creationId="{D439D7C7-D78F-4CE2-BEE2-7A28841CC200}"/>
          </ac:spMkLst>
        </pc:spChg>
        <pc:spChg chg="add mod">
          <ac:chgData name="William Hunter" userId="fe35ec8f832bb40a" providerId="LiveId" clId="{1CE0BD40-89A8-4A1F-9F41-6C8E89AB2FBB}" dt="2019-06-14T19:13:23.913" v="1292" actId="207"/>
          <ac:spMkLst>
            <pc:docMk/>
            <pc:sldMk cId="3046290048" sldId="261"/>
            <ac:spMk id="40" creationId="{6D7A5647-D3EE-40B2-B47A-362F27297A53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1" creationId="{839FD77E-2F70-424C-AB0B-BD98089B89A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2" creationId="{0DC558C4-B843-4547-B985-B998B2F13B0E}"/>
          </ac:spMkLst>
        </pc:spChg>
        <pc:spChg chg="add mod">
          <ac:chgData name="William Hunter" userId="fe35ec8f832bb40a" providerId="LiveId" clId="{1CE0BD40-89A8-4A1F-9F41-6C8E89AB2FBB}" dt="2019-06-14T19:09:56.927" v="1224" actId="20577"/>
          <ac:spMkLst>
            <pc:docMk/>
            <pc:sldMk cId="3046290048" sldId="261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5" creationId="{58EA476C-97EB-4E66-8EE3-FF0F83E021A4}"/>
          </ac:spMkLst>
        </pc:spChg>
        <pc:spChg chg="add mod">
          <ac:chgData name="William Hunter" userId="fe35ec8f832bb40a" providerId="LiveId" clId="{1CE0BD40-89A8-4A1F-9F41-6C8E89AB2FBB}" dt="2019-06-14T19:06:19.571" v="1123" actId="1076"/>
          <ac:spMkLst>
            <pc:docMk/>
            <pc:sldMk cId="3046290048" sldId="261"/>
            <ac:spMk id="46" creationId="{0F9E8AE0-F9FA-405B-88C2-930B0FA79F62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7" creationId="{CB2BF2DA-6A72-4B14-A4BD-B0CEE8D9EC4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8" creationId="{A9A784DC-2C2F-41F2-8DCF-A2EFBD07431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9" creationId="{503F7C0A-F978-4D52-ADA7-88E9E294CBB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1" creationId="{532F6E06-81F9-45E5-BCA6-3A9C2E1C2073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2" creationId="{5BEECCD7-8EAF-4DD9-9C03-8FB2B2BB8BC4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3" creationId="{19769527-C203-4561-B18D-9D7B5434E594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4" creationId="{D49E5F34-A63E-4187-9E96-2D2B6D4A3CA2}"/>
          </ac:spMkLst>
        </pc:spChg>
        <pc:spChg chg="add mod">
          <ac:chgData name="William Hunter" userId="fe35ec8f832bb40a" providerId="LiveId" clId="{1CE0BD40-89A8-4A1F-9F41-6C8E89AB2FBB}" dt="2019-06-14T19:15:11.949" v="1371" actId="313"/>
          <ac:spMkLst>
            <pc:docMk/>
            <pc:sldMk cId="3046290048" sldId="261"/>
            <ac:spMk id="55" creationId="{D4322F64-E42F-486C-AD3E-5A82E3908875}"/>
          </ac:spMkLst>
        </pc:spChg>
        <pc:picChg chg="add mod modCrop">
          <ac:chgData name="William Hunter" userId="fe35ec8f832bb40a" providerId="LiveId" clId="{1CE0BD40-89A8-4A1F-9F41-6C8E89AB2FBB}" dt="2019-06-14T19:11:31.478" v="1234" actId="1076"/>
          <ac:picMkLst>
            <pc:docMk/>
            <pc:sldMk cId="3046290048" sldId="261"/>
            <ac:picMk id="3" creationId="{41FB02DF-67B5-4AFA-946E-49C6D2F8E3C6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7" creationId="{A44575F7-A50E-4031-8F01-9F71F8568541}"/>
          </ac:picMkLst>
        </pc:picChg>
        <pc:picChg chg="add mod modCrop">
          <ac:chgData name="William Hunter" userId="fe35ec8f832bb40a" providerId="LiveId" clId="{1CE0BD40-89A8-4A1F-9F41-6C8E89AB2FBB}" dt="2019-06-14T19:16:12.538" v="1381" actId="1076"/>
          <ac:picMkLst>
            <pc:docMk/>
            <pc:sldMk cId="3046290048" sldId="261"/>
            <ac:picMk id="14" creationId="{C489CBA9-8744-444F-B7A6-24C11744C6DE}"/>
          </ac:picMkLst>
        </pc:picChg>
        <pc:picChg chg="add mod modCrop">
          <ac:chgData name="William Hunter" userId="fe35ec8f832bb40a" providerId="LiveId" clId="{1CE0BD40-89A8-4A1F-9F41-6C8E89AB2FBB}" dt="2019-06-14T19:18:46.772" v="1393" actId="1076"/>
          <ac:picMkLst>
            <pc:docMk/>
            <pc:sldMk cId="3046290048" sldId="261"/>
            <ac:picMk id="16" creationId="{41E78445-569A-46A7-BA4F-C6DC9E8D43DF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37" creationId="{97DAE872-F231-4EBA-A26E-8C8CFA79B1FD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43" creationId="{EE7B47E1-8AAF-4681-B6A1-1CDD837B9F76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50" creationId="{A49C0871-A1EC-4B4E-A1EE-91B33001AC1E}"/>
          </ac:picMkLst>
        </pc:picChg>
        <pc:picChg chg="add del mod">
          <ac:chgData name="William Hunter" userId="fe35ec8f832bb40a" providerId="LiveId" clId="{1CE0BD40-89A8-4A1F-9F41-6C8E89AB2FBB}" dt="2019-06-14T19:11:05.666" v="1225" actId="478"/>
          <ac:picMkLst>
            <pc:docMk/>
            <pc:sldMk cId="3046290048" sldId="261"/>
            <ac:picMk id="56" creationId="{CFA9A1CA-6C17-4F1C-8CCA-C33B1AEBEAE0}"/>
          </ac:picMkLst>
        </pc:picChg>
        <pc:picChg chg="add del mod">
          <ac:chgData name="William Hunter" userId="fe35ec8f832bb40a" providerId="LiveId" clId="{1CE0BD40-89A8-4A1F-9F41-6C8E89AB2FBB}" dt="2019-06-14T19:11:39.965" v="1235" actId="478"/>
          <ac:picMkLst>
            <pc:docMk/>
            <pc:sldMk cId="3046290048" sldId="261"/>
            <ac:picMk id="57" creationId="{61450F65-F8D5-457D-A044-ACE03CAC4100}"/>
          </ac:picMkLst>
        </pc:picChg>
        <pc:picChg chg="add del mod">
          <ac:chgData name="William Hunter" userId="fe35ec8f832bb40a" providerId="LiveId" clId="{1CE0BD40-89A8-4A1F-9F41-6C8E89AB2FBB}" dt="2019-06-14T19:15:29.316" v="1372" actId="478"/>
          <ac:picMkLst>
            <pc:docMk/>
            <pc:sldMk cId="3046290048" sldId="261"/>
            <ac:picMk id="58" creationId="{0390ACD6-9427-4A34-8F0B-F8A97ECF4C48}"/>
          </ac:picMkLst>
        </pc:picChg>
      </pc:sldChg>
      <pc:sldChg chg="addSp delSp modSp add">
        <pc:chgData name="William Hunter" userId="fe35ec8f832bb40a" providerId="LiveId" clId="{1CE0BD40-89A8-4A1F-9F41-6C8E89AB2FBB}" dt="2019-06-14T21:47:33.686" v="4048" actId="208"/>
        <pc:sldMkLst>
          <pc:docMk/>
          <pc:sldMk cId="822760015" sldId="262"/>
        </pc:sldMkLst>
        <pc:spChg chg="add mod">
          <ac:chgData name="William Hunter" userId="fe35ec8f832bb40a" providerId="LiveId" clId="{1CE0BD40-89A8-4A1F-9F41-6C8E89AB2FBB}" dt="2019-06-14T21:47:33.686" v="4048" actId="208"/>
          <ac:spMkLst>
            <pc:docMk/>
            <pc:sldMk cId="822760015" sldId="262"/>
            <ac:spMk id="2" creationId="{51BF6BDF-E250-474C-9BE7-BE4006AE170A}"/>
          </ac:spMkLst>
        </pc:spChg>
        <pc:spChg chg="add del mod">
          <ac:chgData name="William Hunter" userId="fe35ec8f832bb40a" providerId="LiveId" clId="{1CE0BD40-89A8-4A1F-9F41-6C8E89AB2FBB}" dt="2019-06-14T21:47:15.689" v="4047" actId="1076"/>
          <ac:spMkLst>
            <pc:docMk/>
            <pc:sldMk cId="822760015" sldId="262"/>
            <ac:spMk id="4" creationId="{5D9DCEEE-4D8B-4876-A418-F265CE94ED03}"/>
          </ac:spMkLst>
        </pc:spChg>
        <pc:spChg chg="mod">
          <ac:chgData name="William Hunter" userId="fe35ec8f832bb40a" providerId="LiveId" clId="{1CE0BD40-89A8-4A1F-9F41-6C8E89AB2FBB}" dt="2019-06-14T20:02:46.392" v="1430" actId="313"/>
          <ac:spMkLst>
            <pc:docMk/>
            <pc:sldMk cId="822760015" sldId="262"/>
            <ac:spMk id="6" creationId="{00000000-0000-0000-0000-000000000000}"/>
          </ac:spMkLst>
        </pc:spChg>
        <pc:spChg chg="del mod">
          <ac:chgData name="William Hunter" userId="fe35ec8f832bb40a" providerId="LiveId" clId="{1CE0BD40-89A8-4A1F-9F41-6C8E89AB2FBB}" dt="2019-06-14T21:34:56.803" v="3360" actId="478"/>
          <ac:spMkLst>
            <pc:docMk/>
            <pc:sldMk cId="822760015" sldId="262"/>
            <ac:spMk id="30" creationId="{D7DDFAB1-270C-47A1-A5ED-3CA321EE66EB}"/>
          </ac:spMkLst>
        </pc:spChg>
        <pc:spChg chg="del mod">
          <ac:chgData name="William Hunter" userId="fe35ec8f832bb40a" providerId="LiveId" clId="{1CE0BD40-89A8-4A1F-9F41-6C8E89AB2FBB}" dt="2019-06-14T21:34:55.515" v="3357" actId="478"/>
          <ac:spMkLst>
            <pc:docMk/>
            <pc:sldMk cId="822760015" sldId="262"/>
            <ac:spMk id="31" creationId="{573F3348-98AD-43BF-9A82-75F7873CF092}"/>
          </ac:spMkLst>
        </pc:spChg>
        <pc:spChg chg="del mod">
          <ac:chgData name="William Hunter" userId="fe35ec8f832bb40a" providerId="LiveId" clId="{1CE0BD40-89A8-4A1F-9F41-6C8E89AB2FBB}" dt="2019-06-14T21:34:54.254" v="3354" actId="478"/>
          <ac:spMkLst>
            <pc:docMk/>
            <pc:sldMk cId="822760015" sldId="262"/>
            <ac:spMk id="32" creationId="{686BB467-BA4F-4D39-8446-0EBE223B8C3A}"/>
          </ac:spMkLst>
        </pc:spChg>
        <pc:spChg chg="del mod">
          <ac:chgData name="William Hunter" userId="fe35ec8f832bb40a" providerId="LiveId" clId="{1CE0BD40-89A8-4A1F-9F41-6C8E89AB2FBB}" dt="2019-06-14T21:34:55.135" v="3356" actId="478"/>
          <ac:spMkLst>
            <pc:docMk/>
            <pc:sldMk cId="822760015" sldId="262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21:34:53.650" v="3353" actId="478"/>
          <ac:spMkLst>
            <pc:docMk/>
            <pc:sldMk cId="822760015" sldId="262"/>
            <ac:spMk id="40" creationId="{6D7A5647-D3EE-40B2-B47A-362F27297A53}"/>
          </ac:spMkLst>
        </pc:spChg>
        <pc:spChg chg="del mod">
          <ac:chgData name="William Hunter" userId="fe35ec8f832bb40a" providerId="LiveId" clId="{1CE0BD40-89A8-4A1F-9F41-6C8E89AB2FBB}" dt="2019-06-14T21:34:53.147" v="3352" actId="478"/>
          <ac:spMkLst>
            <pc:docMk/>
            <pc:sldMk cId="822760015" sldId="262"/>
            <ac:spMk id="44" creationId="{F091D0BD-E995-4871-A16E-2AE6A1443418}"/>
          </ac:spMkLst>
        </pc:spChg>
        <pc:spChg chg="del mod">
          <ac:chgData name="William Hunter" userId="fe35ec8f832bb40a" providerId="LiveId" clId="{1CE0BD40-89A8-4A1F-9F41-6C8E89AB2FBB}" dt="2019-06-14T21:34:56.395" v="3359" actId="478"/>
          <ac:spMkLst>
            <pc:docMk/>
            <pc:sldMk cId="822760015" sldId="262"/>
            <ac:spMk id="55" creationId="{D4322F64-E42F-486C-AD3E-5A82E3908875}"/>
          </ac:spMkLst>
        </pc:spChg>
        <pc:picChg chg="del">
          <ac:chgData name="William Hunter" userId="fe35ec8f832bb40a" providerId="LiveId" clId="{1CE0BD40-89A8-4A1F-9F41-6C8E89AB2FBB}" dt="2019-06-14T21:34:52.054" v="3350" actId="478"/>
          <ac:picMkLst>
            <pc:docMk/>
            <pc:sldMk cId="822760015" sldId="262"/>
            <ac:picMk id="3" creationId="{41FB02DF-67B5-4AFA-946E-49C6D2F8E3C6}"/>
          </ac:picMkLst>
        </pc:picChg>
        <pc:picChg chg="del">
          <ac:chgData name="William Hunter" userId="fe35ec8f832bb40a" providerId="LiveId" clId="{1CE0BD40-89A8-4A1F-9F41-6C8E89AB2FBB}" dt="2019-06-14T21:34:57.680" v="3361" actId="478"/>
          <ac:picMkLst>
            <pc:docMk/>
            <pc:sldMk cId="822760015" sldId="262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1:34:57.959" v="3362" actId="478"/>
          <ac:picMkLst>
            <pc:docMk/>
            <pc:sldMk cId="822760015" sldId="262"/>
            <ac:picMk id="16" creationId="{41E78445-569A-46A7-BA4F-C6DC9E8D43DF}"/>
          </ac:picMkLst>
        </pc:picChg>
        <pc:picChg chg="add mod">
          <ac:chgData name="William Hunter" userId="fe35ec8f832bb40a" providerId="LiveId" clId="{1CE0BD40-89A8-4A1F-9F41-6C8E89AB2FBB}" dt="2019-06-14T21:47:03.081" v="4046" actId="1076"/>
          <ac:picMkLst>
            <pc:docMk/>
            <pc:sldMk cId="822760015" sldId="262"/>
            <ac:picMk id="17" creationId="{715CB639-3C8C-4380-9106-C82570F494CF}"/>
          </ac:picMkLst>
        </pc:picChg>
        <pc:picChg chg="add mod">
          <ac:chgData name="William Hunter" userId="fe35ec8f832bb40a" providerId="LiveId" clId="{1CE0BD40-89A8-4A1F-9F41-6C8E89AB2FBB}" dt="2019-06-14T21:38:23.570" v="3421" actId="1036"/>
          <ac:picMkLst>
            <pc:docMk/>
            <pc:sldMk cId="822760015" sldId="262"/>
            <ac:picMk id="18" creationId="{2BF4224A-E5B9-4448-907E-626BD703DA43}"/>
          </ac:picMkLst>
        </pc:picChg>
      </pc:sldChg>
      <pc:sldChg chg="add del">
        <pc:chgData name="William Hunter" userId="fe35ec8f832bb40a" providerId="LiveId" clId="{1CE0BD40-89A8-4A1F-9F41-6C8E89AB2FBB}" dt="2019-06-14T19:18:16.124" v="1383" actId="2696"/>
        <pc:sldMkLst>
          <pc:docMk/>
          <pc:sldMk cId="1841146121" sldId="262"/>
        </pc:sldMkLst>
      </pc:sldChg>
      <pc:sldChg chg="addSp delSp modSp add">
        <pc:chgData name="William Hunter" userId="fe35ec8f832bb40a" providerId="LiveId" clId="{1CE0BD40-89A8-4A1F-9F41-6C8E89AB2FBB}" dt="2019-06-14T21:28:42.336" v="3337" actId="1035"/>
        <pc:sldMkLst>
          <pc:docMk/>
          <pc:sldMk cId="591932118" sldId="263"/>
        </pc:sldMkLst>
        <pc:spChg chg="mod">
          <ac:chgData name="William Hunter" userId="fe35ec8f832bb40a" providerId="LiveId" clId="{1CE0BD40-89A8-4A1F-9F41-6C8E89AB2FBB}" dt="2019-06-14T20:03:47.774" v="1461" actId="20577"/>
          <ac:spMkLst>
            <pc:docMk/>
            <pc:sldMk cId="591932118" sldId="263"/>
            <ac:spMk id="6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7" creationId="{82170971-76ED-474E-8794-09E1FBED93A1}"/>
          </ac:spMkLst>
        </pc:spChg>
        <pc:spChg chg="add del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8" creationId="{0FFD7AD8-63DE-40DF-A5BD-DF1C980D027D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9" creationId="{ED00B35C-BB68-4E8B-9B4D-36AC049279BD}"/>
          </ac:spMkLst>
        </pc:spChg>
        <pc:spChg chg="add del">
          <ac:chgData name="William Hunter" userId="fe35ec8f832bb40a" providerId="LiveId" clId="{1CE0BD40-89A8-4A1F-9F41-6C8E89AB2FBB}" dt="2019-06-14T21:24:47.014" v="3281" actId="478"/>
          <ac:spMkLst>
            <pc:docMk/>
            <pc:sldMk cId="591932118" sldId="263"/>
            <ac:spMk id="20" creationId="{A1ABB466-A57D-4EBE-A523-838F85167A88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1" creationId="{DDDCF21F-F08C-4460-A4D7-28627D595494}"/>
          </ac:spMkLst>
        </pc:spChg>
        <pc:spChg chg="mod">
          <ac:chgData name="William Hunter" userId="fe35ec8f832bb40a" providerId="LiveId" clId="{1CE0BD40-89A8-4A1F-9F41-6C8E89AB2FBB}" dt="2019-06-14T20:04:00.938" v="1519" actId="313"/>
          <ac:spMkLst>
            <pc:docMk/>
            <pc:sldMk cId="591932118" sldId="263"/>
            <ac:spMk id="22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3" creationId="{D316A2A0-5CA5-413E-9A79-3794B2BC32EE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4" creationId="{8107F08A-1F6E-4BD8-8213-AC629C21F3DA}"/>
          </ac:spMkLst>
        </pc:spChg>
        <pc:spChg chg="add del">
          <ac:chgData name="William Hunter" userId="fe35ec8f832bb40a" providerId="LiveId" clId="{1CE0BD40-89A8-4A1F-9F41-6C8E89AB2FBB}" dt="2019-06-14T21:26:22.134" v="3289" actId="478"/>
          <ac:spMkLst>
            <pc:docMk/>
            <pc:sldMk cId="591932118" sldId="263"/>
            <ac:spMk id="25" creationId="{19123193-A463-4ED6-B0E9-E86F64486536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6" creationId="{62127776-9F93-498C-9D77-CF8030E6CCBF}"/>
          </ac:spMkLst>
        </pc:spChg>
        <pc:spChg chg="add del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7" creationId="{CCCEA725-911A-4791-8F7E-0CBD3B9EB03F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8" creationId="{2C050810-6727-4850-8687-1561F1C7F904}"/>
          </ac:spMkLst>
        </pc:spChg>
        <pc:spChg chg="add del mod">
          <ac:chgData name="William Hunter" userId="fe35ec8f832bb40a" providerId="LiveId" clId="{1CE0BD40-89A8-4A1F-9F41-6C8E89AB2FBB}" dt="2019-06-14T21:28:04.482" v="3309" actId="478"/>
          <ac:spMkLst>
            <pc:docMk/>
            <pc:sldMk cId="591932118" sldId="263"/>
            <ac:spMk id="29" creationId="{7B656AD3-45DD-4863-A34F-62094A27B4D7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0" creationId="{D7DDFAB1-270C-47A1-A5ED-3CA321EE66EB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1" creationId="{573F3348-98AD-43BF-9A82-75F7873CF092}"/>
          </ac:spMkLst>
        </pc:spChg>
        <pc:spChg chg="del">
          <ac:chgData name="William Hunter" userId="fe35ec8f832bb40a" providerId="LiveId" clId="{1CE0BD40-89A8-4A1F-9F41-6C8E89AB2FBB}" dt="2019-06-14T21:14:51.445" v="2413" actId="478"/>
          <ac:spMkLst>
            <pc:docMk/>
            <pc:sldMk cId="591932118" sldId="263"/>
            <ac:spMk id="32" creationId="{686BB467-BA4F-4D39-8446-0EBE223B8C3A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0" creationId="{6D7A5647-D3EE-40B2-B47A-362F27297A53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6" creationId="{0F9E8AE0-F9FA-405B-88C2-930B0FA79F62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55" creationId="{D4322F64-E42F-486C-AD3E-5A82E3908875}"/>
          </ac:spMkLst>
        </pc:sp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3" creationId="{41FB02DF-67B5-4AFA-946E-49C6D2F8E3C6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4" creationId="{9183E8C4-0A9C-4FD1-A449-564D0436B9E6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7" creationId="{E0862061-A165-4156-A9A5-CE36814813C0}"/>
          </ac:picMkLst>
        </pc:picChg>
        <pc:picChg chg="add del mod">
          <ac:chgData name="William Hunter" userId="fe35ec8f832bb40a" providerId="LiveId" clId="{1CE0BD40-89A8-4A1F-9F41-6C8E89AB2FBB}" dt="2019-06-14T21:28:02.347" v="3307"/>
          <ac:picMkLst>
            <pc:docMk/>
            <pc:sldMk cId="591932118" sldId="263"/>
            <ac:picMk id="9" creationId="{F0E2909B-A8D9-43D0-B8BF-220978277907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13" creationId="{73AA7200-E629-4A1A-B685-074D2E78C907}"/>
          </ac:picMkLst>
        </pc:pic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16" creationId="{41E78445-569A-46A7-BA4F-C6DC9E8D43DF}"/>
          </ac:picMkLst>
        </pc:picChg>
      </pc:sldChg>
      <pc:sldChg chg="add del">
        <pc:chgData name="William Hunter" userId="fe35ec8f832bb40a" providerId="LiveId" clId="{1CE0BD40-89A8-4A1F-9F41-6C8E89AB2FBB}" dt="2019-06-14T19:18:18.329" v="1384" actId="2696"/>
        <pc:sldMkLst>
          <pc:docMk/>
          <pc:sldMk cId="1606609231" sldId="263"/>
        </pc:sldMkLst>
      </pc:sldChg>
      <pc:sldChg chg="addSp delSp modSp add">
        <pc:chgData name="William Hunter" userId="fe35ec8f832bb40a" providerId="LiveId" clId="{1CE0BD40-89A8-4A1F-9F41-6C8E89AB2FBB}" dt="2019-06-14T21:50:44.104" v="4057" actId="1076"/>
        <pc:sldMkLst>
          <pc:docMk/>
          <pc:sldMk cId="2304756975" sldId="264"/>
        </pc:sldMkLst>
        <pc:spChg chg="mod">
          <ac:chgData name="William Hunter" userId="fe35ec8f832bb40a" providerId="LiveId" clId="{1CE0BD40-89A8-4A1F-9F41-6C8E89AB2FBB}" dt="2019-06-14T20:04:31.630" v="1541" actId="20577"/>
          <ac:spMkLst>
            <pc:docMk/>
            <pc:sldMk cId="2304756975" sldId="264"/>
            <ac:spMk id="6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1:49:38.642" v="4050" actId="207"/>
          <ac:spMkLst>
            <pc:docMk/>
            <pc:sldMk cId="2304756975" sldId="264"/>
            <ac:spMk id="18" creationId="{D247FC34-7D20-4ACA-8E8B-0382BC1890C5}"/>
          </ac:spMkLst>
        </pc:spChg>
        <pc:spChg chg="mod">
          <ac:chgData name="William Hunter" userId="fe35ec8f832bb40a" providerId="LiveId" clId="{1CE0BD40-89A8-4A1F-9F41-6C8E89AB2FBB}" dt="2019-06-14T20:30:00.484" v="1634" actId="207"/>
          <ac:spMkLst>
            <pc:docMk/>
            <pc:sldMk cId="2304756975" sldId="264"/>
            <ac:spMk id="19" creationId="{77A0BADF-5D12-4FAA-A42E-E9D7029F6C62}"/>
          </ac:spMkLst>
        </pc:spChg>
        <pc:spChg chg="mod">
          <ac:chgData name="William Hunter" userId="fe35ec8f832bb40a" providerId="LiveId" clId="{1CE0BD40-89A8-4A1F-9F41-6C8E89AB2FBB}" dt="2019-06-14T20:38:01.827" v="1728" actId="207"/>
          <ac:spMkLst>
            <pc:docMk/>
            <pc:sldMk cId="2304756975" sldId="264"/>
            <ac:spMk id="21" creationId="{5C4EE248-00C7-4341-A2EE-3F7849F3DA7A}"/>
          </ac:spMkLst>
        </pc:spChg>
        <pc:spChg chg="mod">
          <ac:chgData name="William Hunter" userId="fe35ec8f832bb40a" providerId="LiveId" clId="{1CE0BD40-89A8-4A1F-9F41-6C8E89AB2FBB}" dt="2019-06-14T20:07:53.216" v="1597" actId="313"/>
          <ac:spMkLst>
            <pc:docMk/>
            <pc:sldMk cId="2304756975" sldId="264"/>
            <ac:spMk id="22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0:29:57.090" v="1633" actId="207"/>
          <ac:spMkLst>
            <pc:docMk/>
            <pc:sldMk cId="2304756975" sldId="264"/>
            <ac:spMk id="23" creationId="{AEC54D6A-FDD7-4698-BBA2-BDDA20E98F54}"/>
          </ac:spMkLst>
        </pc:spChg>
        <pc:spChg chg="mod">
          <ac:chgData name="William Hunter" userId="fe35ec8f832bb40a" providerId="LiveId" clId="{1CE0BD40-89A8-4A1F-9F41-6C8E89AB2FBB}" dt="2019-06-14T20:29:52.984" v="1632" actId="207"/>
          <ac:spMkLst>
            <pc:docMk/>
            <pc:sldMk cId="2304756975" sldId="264"/>
            <ac:spMk id="26" creationId="{139D15FE-0D3E-48CE-B781-1AA6A2E50E43}"/>
          </ac:spMkLst>
        </pc:spChg>
        <pc:spChg chg="mod">
          <ac:chgData name="William Hunter" userId="fe35ec8f832bb40a" providerId="LiveId" clId="{1CE0BD40-89A8-4A1F-9F41-6C8E89AB2FBB}" dt="2019-06-14T20:29:38.359" v="1631" actId="207"/>
          <ac:spMkLst>
            <pc:docMk/>
            <pc:sldMk cId="2304756975" sldId="264"/>
            <ac:spMk id="29" creationId="{4992DC57-216B-4FD3-8BBC-4371DBEDDF02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0" creationId="{D7DDFAB1-270C-47A1-A5ED-3CA321EE66EB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1" creationId="{573F3348-98AD-43BF-9A82-75F7873CF092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2" creationId="{686BB467-BA4F-4D39-8446-0EBE223B8C3A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3" creationId="{6431C94A-BAFA-44E2-8F59-BC8B2D3C142A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4" creationId="{C11FE841-5E90-4B68-A0EA-81F25410C445}"/>
          </ac:spMkLst>
        </pc:spChg>
        <pc:spChg chg="add mod">
          <ac:chgData name="William Hunter" userId="fe35ec8f832bb40a" providerId="LiveId" clId="{1CE0BD40-89A8-4A1F-9F41-6C8E89AB2FBB}" dt="2019-06-14T20:52:46.366" v="1967" actId="20577"/>
          <ac:spMkLst>
            <pc:docMk/>
            <pc:sldMk cId="2304756975" sldId="264"/>
            <ac:spMk id="35" creationId="{3A64E1DB-A270-4EA0-83C8-239B209FA87B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6" creationId="{E33A3FA4-37E9-4AC9-A5CF-8943785B1FE4}"/>
          </ac:spMkLst>
        </pc:spChg>
        <pc:spChg chg="add mod">
          <ac:chgData name="William Hunter" userId="fe35ec8f832bb40a" providerId="LiveId" clId="{1CE0BD40-89A8-4A1F-9F41-6C8E89AB2FBB}" dt="2019-06-14T20:55:37.067" v="2088" actId="20577"/>
          <ac:spMkLst>
            <pc:docMk/>
            <pc:sldMk cId="2304756975" sldId="264"/>
            <ac:spMk id="37" creationId="{5C4E0133-B069-49FC-A163-3CB3E3CD012E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8" creationId="{BD2149F5-35DC-487A-AA91-3B4249ED9C73}"/>
          </ac:spMkLst>
        </pc:spChg>
        <pc:spChg chg="add mod">
          <ac:chgData name="William Hunter" userId="fe35ec8f832bb40a" providerId="LiveId" clId="{1CE0BD40-89A8-4A1F-9F41-6C8E89AB2FBB}" dt="2019-06-14T20:59:30.033" v="2247" actId="20577"/>
          <ac:spMkLst>
            <pc:docMk/>
            <pc:sldMk cId="2304756975" sldId="264"/>
            <ac:spMk id="39" creationId="{8F450760-7C7A-441B-A23F-510EF3505008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0" creationId="{6D7A5647-D3EE-40B2-B47A-362F27297A53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41" creationId="{0E84BB79-491B-4EC0-8EA6-2D05ECB6AA83}"/>
          </ac:spMkLst>
        </pc:spChg>
        <pc:spChg chg="add mod">
          <ac:chgData name="William Hunter" userId="fe35ec8f832bb40a" providerId="LiveId" clId="{1CE0BD40-89A8-4A1F-9F41-6C8E89AB2FBB}" dt="2019-06-14T21:03:04.267" v="2376" actId="20577"/>
          <ac:spMkLst>
            <pc:docMk/>
            <pc:sldMk cId="2304756975" sldId="264"/>
            <ac:spMk id="42" creationId="{68CC1944-6DDB-486B-A148-17C7D0973986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6" creationId="{0F9E8AE0-F9FA-405B-88C2-930B0FA79F62}"/>
          </ac:spMkLst>
        </pc:spChg>
        <pc:spChg chg="add del">
          <ac:chgData name="William Hunter" userId="fe35ec8f832bb40a" providerId="LiveId" clId="{1CE0BD40-89A8-4A1F-9F41-6C8E89AB2FBB}" dt="2019-06-14T20:45:20.760" v="1750" actId="478"/>
          <ac:spMkLst>
            <pc:docMk/>
            <pc:sldMk cId="2304756975" sldId="264"/>
            <ac:spMk id="52" creationId="{873157AE-2A8E-47ED-8002-2C1C7B2A485C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55" creationId="{D4322F64-E42F-486C-AD3E-5A82E3908875}"/>
          </ac:spMkLst>
        </pc:spChg>
        <pc:grpChg chg="add mod">
          <ac:chgData name="William Hunter" userId="fe35ec8f832bb40a" providerId="LiveId" clId="{1CE0BD40-89A8-4A1F-9F41-6C8E89AB2FBB}" dt="2019-06-14T20:34:14.089" v="1718" actId="207"/>
          <ac:grpSpMkLst>
            <pc:docMk/>
            <pc:sldMk cId="2304756975" sldId="264"/>
            <ac:grpSpMk id="17" creationId="{6FD2D0B6-260F-4184-B77F-D6F619FC3842}"/>
          </ac:grpSpMkLst>
        </pc:grpChg>
        <pc:grpChg chg="add">
          <ac:chgData name="William Hunter" userId="fe35ec8f832bb40a" providerId="LiveId" clId="{1CE0BD40-89A8-4A1F-9F41-6C8E89AB2FBB}" dt="2019-06-14T20:28:37.637" v="1627"/>
          <ac:grpSpMkLst>
            <pc:docMk/>
            <pc:sldMk cId="2304756975" sldId="264"/>
            <ac:grpSpMk id="20" creationId="{C40E4C2C-3646-4B64-824F-3E36C209D38C}"/>
          </ac:grpSpMkLst>
        </pc:grpChg>
        <pc:grpChg chg="add">
          <ac:chgData name="William Hunter" userId="fe35ec8f832bb40a" providerId="LiveId" clId="{1CE0BD40-89A8-4A1F-9F41-6C8E89AB2FBB}" dt="2019-06-14T20:28:37.637" v="1627"/>
          <ac:grpSpMkLst>
            <pc:docMk/>
            <pc:sldMk cId="2304756975" sldId="264"/>
            <ac:grpSpMk id="24" creationId="{C5801F6B-3A28-4EE1-8841-12B2A099D98E}"/>
          </ac:grpSpMkLst>
        </pc:grpChg>
        <pc:grpChg chg="add mod">
          <ac:chgData name="William Hunter" userId="fe35ec8f832bb40a" providerId="LiveId" clId="{1CE0BD40-89A8-4A1F-9F41-6C8E89AB2FBB}" dt="2019-06-14T20:28:52.341" v="1628" actId="207"/>
          <ac:grpSpMkLst>
            <pc:docMk/>
            <pc:sldMk cId="2304756975" sldId="264"/>
            <ac:grpSpMk id="27" creationId="{74505A5C-343D-475D-A9C2-D1E4B8F520DC}"/>
          </ac:grpSpMkLst>
        </pc:grpChg>
        <pc:grpChg chg="add del">
          <ac:chgData name="William Hunter" userId="fe35ec8f832bb40a" providerId="LiveId" clId="{1CE0BD40-89A8-4A1F-9F41-6C8E89AB2FBB}" dt="2019-06-14T20:48:54.568" v="1839" actId="478"/>
          <ac:grpSpMkLst>
            <pc:docMk/>
            <pc:sldMk cId="2304756975" sldId="264"/>
            <ac:grpSpMk id="43" creationId="{215339D4-0726-43A6-B805-D68773828C79}"/>
          </ac:grpSpMkLst>
        </pc:grpChg>
        <pc:grpChg chg="add del">
          <ac:chgData name="William Hunter" userId="fe35ec8f832bb40a" providerId="LiveId" clId="{1CE0BD40-89A8-4A1F-9F41-6C8E89AB2FBB}" dt="2019-06-14T20:35:22.638" v="1725" actId="478"/>
          <ac:grpSpMkLst>
            <pc:docMk/>
            <pc:sldMk cId="2304756975" sldId="264"/>
            <ac:grpSpMk id="48" creationId="{3860D7A3-F1F2-49D1-A0E0-296CC6C81949}"/>
          </ac:grpSpMkLst>
        </pc:grpChg>
        <pc:grpChg chg="add del">
          <ac:chgData name="William Hunter" userId="fe35ec8f832bb40a" providerId="LiveId" clId="{1CE0BD40-89A8-4A1F-9F41-6C8E89AB2FBB}" dt="2019-06-14T20:39:01.265" v="1731" actId="478"/>
          <ac:grpSpMkLst>
            <pc:docMk/>
            <pc:sldMk cId="2304756975" sldId="264"/>
            <ac:grpSpMk id="53" creationId="{01FE5CD5-76D2-4D02-B834-A67FED3D60F8}"/>
          </ac:grpSpMkLst>
        </pc:grp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3" creationId="{41FB02DF-67B5-4AFA-946E-49C6D2F8E3C6}"/>
          </ac:picMkLst>
        </pc:picChg>
        <pc:picChg chg="add del mod">
          <ac:chgData name="William Hunter" userId="fe35ec8f832bb40a" providerId="LiveId" clId="{1CE0BD40-89A8-4A1F-9F41-6C8E89AB2FBB}" dt="2019-06-14T21:50:31.091" v="4051" actId="478"/>
          <ac:picMkLst>
            <pc:docMk/>
            <pc:sldMk cId="2304756975" sldId="264"/>
            <ac:picMk id="4" creationId="{1AF9ECE7-50B1-4BB7-96BC-EED7606BDFA7}"/>
          </ac:picMkLst>
        </pc:picChg>
        <pc:picChg chg="add mod">
          <ac:chgData name="William Hunter" userId="fe35ec8f832bb40a" providerId="LiveId" clId="{1CE0BD40-89A8-4A1F-9F41-6C8E89AB2FBB}" dt="2019-06-14T20:39:10.569" v="1736" actId="1076"/>
          <ac:picMkLst>
            <pc:docMk/>
            <pc:sldMk cId="2304756975" sldId="264"/>
            <ac:picMk id="7" creationId="{6B44D1AD-E401-484D-871A-0C20AE62DDFC}"/>
          </ac:picMkLst>
        </pc:picChg>
        <pc:picChg chg="add del mod">
          <ac:chgData name="William Hunter" userId="fe35ec8f832bb40a" providerId="LiveId" clId="{1CE0BD40-89A8-4A1F-9F41-6C8E89AB2FBB}" dt="2019-06-14T20:45:44.885" v="1832"/>
          <ac:picMkLst>
            <pc:docMk/>
            <pc:sldMk cId="2304756975" sldId="264"/>
            <ac:picMk id="9" creationId="{8D4D0518-C079-4F16-988C-8A8258B973C5}"/>
          </ac:picMkLst>
        </pc:picChg>
        <pc:picChg chg="add mod">
          <ac:chgData name="William Hunter" userId="fe35ec8f832bb40a" providerId="LiveId" clId="{1CE0BD40-89A8-4A1F-9F41-6C8E89AB2FBB}" dt="2019-06-14T20:49:03.728" v="1842" actId="1076"/>
          <ac:picMkLst>
            <pc:docMk/>
            <pc:sldMk cId="2304756975" sldId="264"/>
            <ac:picMk id="13" creationId="{F0E088A0-A229-4E6B-AFB5-A87721F12D16}"/>
          </ac:picMkLst>
        </pc:pic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16" creationId="{41E78445-569A-46A7-BA4F-C6DC9E8D43DF}"/>
          </ac:picMkLst>
        </pc:picChg>
        <pc:picChg chg="add mod">
          <ac:chgData name="William Hunter" userId="fe35ec8f832bb40a" providerId="LiveId" clId="{1CE0BD40-89A8-4A1F-9F41-6C8E89AB2FBB}" dt="2019-06-14T20:51:43.721" v="1850" actId="1076"/>
          <ac:picMkLst>
            <pc:docMk/>
            <pc:sldMk cId="2304756975" sldId="264"/>
            <ac:picMk id="60" creationId="{0FDC3EF7-AE3B-411F-BF73-18435EE044A8}"/>
          </ac:picMkLst>
        </pc:picChg>
        <pc:picChg chg="add mod">
          <ac:chgData name="William Hunter" userId="fe35ec8f832bb40a" providerId="LiveId" clId="{1CE0BD40-89A8-4A1F-9F41-6C8E89AB2FBB}" dt="2019-06-14T21:50:44.104" v="4057" actId="1076"/>
          <ac:picMkLst>
            <pc:docMk/>
            <pc:sldMk cId="2304756975" sldId="264"/>
            <ac:picMk id="62" creationId="{87DF9155-FB77-44B9-871F-9156FCF49176}"/>
          </ac:picMkLst>
        </pc:picChg>
      </pc:sldChg>
      <pc:sldChg chg="addSp delSp modSp add del">
        <pc:chgData name="William Hunter" userId="fe35ec8f832bb40a" providerId="LiveId" clId="{1CE0BD40-89A8-4A1F-9F41-6C8E89AB2FBB}" dt="2019-06-14T21:43:38.202" v="3915" actId="2696"/>
        <pc:sldMkLst>
          <pc:docMk/>
          <pc:sldMk cId="1841146121" sldId="265"/>
        </pc:sldMkLst>
        <pc:picChg chg="add mod modCrop">
          <ac:chgData name="William Hunter" userId="fe35ec8f832bb40a" providerId="LiveId" clId="{1CE0BD40-89A8-4A1F-9F41-6C8E89AB2FBB}" dt="2019-06-14T21:30:51.141" v="3349" actId="732"/>
          <ac:picMkLst>
            <pc:docMk/>
            <pc:sldMk cId="1841146121" sldId="265"/>
            <ac:picMk id="4" creationId="{3C1FE44F-4207-467C-9AF2-FF4A6BEB94B2}"/>
          </ac:picMkLst>
        </pc:picChg>
        <pc:picChg chg="del">
          <ac:chgData name="William Hunter" userId="fe35ec8f832bb40a" providerId="LiveId" clId="{1CE0BD40-89A8-4A1F-9F41-6C8E89AB2FBB}" dt="2019-06-14T21:30:26.474" v="3343" actId="478"/>
          <ac:picMkLst>
            <pc:docMk/>
            <pc:sldMk cId="1841146121" sldId="265"/>
            <ac:picMk id="22" creationId="{0A04E39B-82CF-0E4C-BAB7-F80B0C7A1F56}"/>
          </ac:picMkLst>
        </pc:picChg>
      </pc:sldChg>
      <pc:sldChg chg="add del">
        <pc:chgData name="William Hunter" userId="fe35ec8f832bb40a" providerId="LiveId" clId="{1CE0BD40-89A8-4A1F-9F41-6C8E89AB2FBB}" dt="2019-06-14T21:43:38.218" v="3916" actId="2696"/>
        <pc:sldMkLst>
          <pc:docMk/>
          <pc:sldMk cId="2973072196" sldId="266"/>
        </pc:sldMkLst>
      </pc:sldChg>
      <pc:sldChg chg="add del">
        <pc:chgData name="William Hunter" userId="fe35ec8f832bb40a" providerId="LiveId" clId="{1CE0BD40-89A8-4A1F-9F41-6C8E89AB2FBB}" dt="2019-06-14T21:43:38.229" v="3917" actId="2696"/>
        <pc:sldMkLst>
          <pc:docMk/>
          <pc:sldMk cId="2406987104" sldId="267"/>
        </pc:sldMkLst>
      </pc:sldChg>
      <pc:sldChg chg="add del">
        <pc:chgData name="William Hunter" userId="fe35ec8f832bb40a" providerId="LiveId" clId="{1CE0BD40-89A8-4A1F-9F41-6C8E89AB2FBB}" dt="2019-06-14T21:43:38.257" v="3919" actId="2696"/>
        <pc:sldMkLst>
          <pc:docMk/>
          <pc:sldMk cId="659317518" sldId="268"/>
        </pc:sldMkLst>
      </pc:sldChg>
      <pc:sldChg chg="add del">
        <pc:chgData name="William Hunter" userId="fe35ec8f832bb40a" providerId="LiveId" clId="{1CE0BD40-89A8-4A1F-9F41-6C8E89AB2FBB}" dt="2019-06-14T20:24:04.583" v="1606" actId="2696"/>
        <pc:sldMkLst>
          <pc:docMk/>
          <pc:sldMk cId="3143510143" sldId="268"/>
        </pc:sldMkLst>
      </pc:sldChg>
      <pc:sldChg chg="modSp add del">
        <pc:chgData name="William Hunter" userId="fe35ec8f832bb40a" providerId="LiveId" clId="{1CE0BD40-89A8-4A1F-9F41-6C8E89AB2FBB}" dt="2019-06-14T20:24:55.593" v="1615" actId="2696"/>
        <pc:sldMkLst>
          <pc:docMk/>
          <pc:sldMk cId="107004701" sldId="269"/>
        </pc:sldMkLst>
        <pc:spChg chg="mod">
          <ac:chgData name="William Hunter" userId="fe35ec8f832bb40a" providerId="LiveId" clId="{1CE0BD40-89A8-4A1F-9F41-6C8E89AB2FBB}" dt="2019-06-14T20:24:52.507" v="1614" actId="1076"/>
          <ac:spMkLst>
            <pc:docMk/>
            <pc:sldMk cId="107004701" sldId="269"/>
            <ac:spMk id="6" creationId="{00000000-0000-0000-0000-000000000000}"/>
          </ac:spMkLst>
        </pc:spChg>
      </pc:sldChg>
      <pc:sldChg chg="add del">
        <pc:chgData name="William Hunter" userId="fe35ec8f832bb40a" providerId="LiveId" clId="{1CE0BD40-89A8-4A1F-9F41-6C8E89AB2FBB}" dt="2019-06-14T21:43:38.267" v="3921" actId="2696"/>
        <pc:sldMkLst>
          <pc:docMk/>
          <pc:sldMk cId="1406428127" sldId="269"/>
        </pc:sldMkLst>
      </pc:sldChg>
      <pc:sldChg chg="addSp delSp modSp add del">
        <pc:chgData name="William Hunter" userId="fe35ec8f832bb40a" providerId="LiveId" clId="{1CE0BD40-89A8-4A1F-9F41-6C8E89AB2FBB}" dt="2019-06-14T21:43:38.279" v="3923" actId="2696"/>
        <pc:sldMkLst>
          <pc:docMk/>
          <pc:sldMk cId="3754922128" sldId="270"/>
        </pc:sldMkLst>
        <pc:spChg chg="mod">
          <ac:chgData name="William Hunter" userId="fe35ec8f832bb40a" providerId="LiveId" clId="{1CE0BD40-89A8-4A1F-9F41-6C8E89AB2FBB}" dt="2019-06-14T21:06:53.516" v="2388" actId="1076"/>
          <ac:spMkLst>
            <pc:docMk/>
            <pc:sldMk cId="3754922128" sldId="270"/>
            <ac:spMk id="4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5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6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8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9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1:06:46.951" v="2384" actId="6549"/>
          <ac:spMkLst>
            <pc:docMk/>
            <pc:sldMk cId="3754922128" sldId="270"/>
            <ac:spMk id="11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2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8:06.426" v="2411" actId="1036"/>
          <ac:spMkLst>
            <pc:docMk/>
            <pc:sldMk cId="3754922128" sldId="270"/>
            <ac:spMk id="13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4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5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7" creationId="{7B9399B8-86E7-4863-A7BE-7F298138E3E4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8" creationId="{50E077FE-8C75-445A-83CA-1B7F3772B57D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9" creationId="{1C42B17E-C0DE-448E-96E0-54C867D5D7E3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20" creationId="{9A25F094-A028-43D6-81DC-F5993B68E97D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1" creationId="{A7B70CD1-9A09-465F-A30C-6B4A0500D43A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2" creationId="{622737F3-491B-4142-B2B5-8AE29F84CD7F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3" creationId="{4FA59F46-0243-40AB-AF0F-AAB9C875353C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4" creationId="{3391A62F-DB15-4FDE-91CA-D3CBFDF2257C}"/>
          </ac:spMkLst>
        </pc:spChg>
      </pc:sldChg>
      <pc:sldChg chg="add del">
        <pc:chgData name="William Hunter" userId="fe35ec8f832bb40a" providerId="LiveId" clId="{1CE0BD40-89A8-4A1F-9F41-6C8E89AB2FBB}" dt="2019-06-14T21:43:38.302" v="3924" actId="2696"/>
        <pc:sldMkLst>
          <pc:docMk/>
          <pc:sldMk cId="519762708" sldId="271"/>
        </pc:sldMkLst>
      </pc:sldChg>
      <pc:sldChg chg="add del">
        <pc:chgData name="William Hunter" userId="fe35ec8f832bb40a" providerId="LiveId" clId="{1CE0BD40-89A8-4A1F-9F41-6C8E89AB2FBB}" dt="2019-06-14T21:43:38.317" v="3927" actId="2696"/>
        <pc:sldMkLst>
          <pc:docMk/>
          <pc:sldMk cId="64616428" sldId="272"/>
        </pc:sldMkLst>
      </pc:sldChg>
      <pc:sldMasterChg chg="add del addSldLayout delSldLayout">
        <pc:chgData name="William Hunter" userId="fe35ec8f832bb40a" providerId="LiveId" clId="{1CE0BD40-89A8-4A1F-9F41-6C8E89AB2FBB}" dt="2019-06-14T21:43:38.304" v="3926" actId="2696"/>
        <pc:sldMasterMkLst>
          <pc:docMk/>
          <pc:sldMasterMk cId="0" sldId="2147483648"/>
        </pc:sldMasterMkLst>
        <pc:sldLayoutChg chg="add del">
          <pc:chgData name="William Hunter" userId="fe35ec8f832bb40a" providerId="LiveId" clId="{1CE0BD40-89A8-4A1F-9F41-6C8E89AB2FBB}" dt="2019-06-14T20:24:04.584" v="1607" actId="2696"/>
          <pc:sldLayoutMkLst>
            <pc:docMk/>
            <pc:sldMasterMk cId="0" sldId="2147483648"/>
            <pc:sldLayoutMk cId="3630265670" sldId="2147483655"/>
          </pc:sldLayoutMkLst>
        </pc:sldLayoutChg>
        <pc:sldLayoutChg chg="add del">
          <pc:chgData name="William Hunter" userId="fe35ec8f832bb40a" providerId="LiveId" clId="{1CE0BD40-89A8-4A1F-9F41-6C8E89AB2FBB}" dt="2019-06-14T21:43:38.258" v="3920" actId="2696"/>
          <pc:sldLayoutMkLst>
            <pc:docMk/>
            <pc:sldMasterMk cId="0" sldId="2147483648"/>
            <pc:sldLayoutMk cId="2891095702" sldId="2147483658"/>
          </pc:sldLayoutMkLst>
        </pc:sldLayoutChg>
        <pc:sldLayoutChg chg="add del">
          <pc:chgData name="William Hunter" userId="fe35ec8f832bb40a" providerId="LiveId" clId="{1CE0BD40-89A8-4A1F-9F41-6C8E89AB2FBB}" dt="2019-06-14T20:24:55.594" v="1616" actId="2696"/>
          <pc:sldLayoutMkLst>
            <pc:docMk/>
            <pc:sldMasterMk cId="0" sldId="2147483648"/>
            <pc:sldLayoutMk cId="889365976" sldId="2147483661"/>
          </pc:sldLayoutMkLst>
        </pc:sldLayoutChg>
        <pc:sldLayoutChg chg="add del">
          <pc:chgData name="William Hunter" userId="fe35ec8f832bb40a" providerId="LiveId" clId="{1CE0BD40-89A8-4A1F-9F41-6C8E89AB2FBB}" dt="2019-06-14T21:43:38.268" v="3922" actId="2696"/>
          <pc:sldLayoutMkLst>
            <pc:docMk/>
            <pc:sldMasterMk cId="0" sldId="2147483648"/>
            <pc:sldLayoutMk cId="1225607867" sldId="2147483665"/>
          </pc:sldLayoutMkLst>
        </pc:sldLayoutChg>
        <pc:sldLayoutChg chg="add del">
          <pc:chgData name="William Hunter" userId="fe35ec8f832bb40a" providerId="LiveId" clId="{1CE0BD40-89A8-4A1F-9F41-6C8E89AB2FBB}" dt="2019-06-14T21:43:38.303" v="3925" actId="2696"/>
          <pc:sldLayoutMkLst>
            <pc:docMk/>
            <pc:sldMasterMk cId="0" sldId="2147483648"/>
            <pc:sldLayoutMk cId="4272429421" sldId="2147483675"/>
          </pc:sldLayoutMkLst>
        </pc:sldLayoutChg>
      </pc:sldMasterChg>
      <pc:sldMasterChg chg="del delSldLayout">
        <pc:chgData name="William Hunter" userId="fe35ec8f832bb40a" providerId="LiveId" clId="{1CE0BD40-89A8-4A1F-9F41-6C8E89AB2FBB}" dt="2019-06-14T16:38:41.607" v="17" actId="2696"/>
        <pc:sldMasterMkLst>
          <pc:docMk/>
          <pc:sldMasterMk cId="953781931" sldId="2147483705"/>
        </pc:sldMasterMkLst>
        <pc:sldLayoutChg chg="del">
          <pc:chgData name="William Hunter" userId="fe35ec8f832bb40a" providerId="LiveId" clId="{1CE0BD40-89A8-4A1F-9F41-6C8E89AB2FBB}" dt="2019-06-14T16:38:41.600" v="6" actId="2696"/>
          <pc:sldLayoutMkLst>
            <pc:docMk/>
            <pc:sldMasterMk cId="953781931" sldId="2147483705"/>
            <pc:sldLayoutMk cId="2434681810" sldId="2147483649"/>
          </pc:sldLayoutMkLst>
        </pc:sldLayoutChg>
        <pc:sldLayoutChg chg="del">
          <pc:chgData name="William Hunter" userId="fe35ec8f832bb40a" providerId="LiveId" clId="{1CE0BD40-89A8-4A1F-9F41-6C8E89AB2FBB}" dt="2019-06-14T16:38:41.601" v="8" actId="2696"/>
          <pc:sldLayoutMkLst>
            <pc:docMk/>
            <pc:sldMasterMk cId="953781931" sldId="2147483705"/>
            <pc:sldLayoutMk cId="604177412" sldId="2147483651"/>
          </pc:sldLayoutMkLst>
        </pc:sldLayoutChg>
        <pc:sldLayoutChg chg="del">
          <pc:chgData name="William Hunter" userId="fe35ec8f832bb40a" providerId="LiveId" clId="{1CE0BD40-89A8-4A1F-9F41-6C8E89AB2FBB}" dt="2019-06-14T16:38:41.602" v="9" actId="2696"/>
          <pc:sldLayoutMkLst>
            <pc:docMk/>
            <pc:sldMasterMk cId="953781931" sldId="2147483705"/>
            <pc:sldLayoutMk cId="590752027" sldId="2147483652"/>
          </pc:sldLayoutMkLst>
        </pc:sldLayoutChg>
        <pc:sldLayoutChg chg="del">
          <pc:chgData name="William Hunter" userId="fe35ec8f832bb40a" providerId="LiveId" clId="{1CE0BD40-89A8-4A1F-9F41-6C8E89AB2FBB}" dt="2019-06-14T16:38:41.602" v="10" actId="2696"/>
          <pc:sldLayoutMkLst>
            <pc:docMk/>
            <pc:sldMasterMk cId="953781931" sldId="2147483705"/>
            <pc:sldLayoutMk cId="1540848109" sldId="2147483653"/>
          </pc:sldLayoutMkLst>
        </pc:sldLayoutChg>
        <pc:sldLayoutChg chg="del">
          <pc:chgData name="William Hunter" userId="fe35ec8f832bb40a" providerId="LiveId" clId="{1CE0BD40-89A8-4A1F-9F41-6C8E89AB2FBB}" dt="2019-06-14T16:38:41.603" v="11" actId="2696"/>
          <pc:sldLayoutMkLst>
            <pc:docMk/>
            <pc:sldMasterMk cId="953781931" sldId="2147483705"/>
            <pc:sldLayoutMk cId="4108436985" sldId="2147483654"/>
          </pc:sldLayoutMkLst>
        </pc:sldLayoutChg>
        <pc:sldLayoutChg chg="del">
          <pc:chgData name="William Hunter" userId="fe35ec8f832bb40a" providerId="LiveId" clId="{1CE0BD40-89A8-4A1F-9F41-6C8E89AB2FBB}" dt="2019-06-14T16:38:41.603" v="12" actId="2696"/>
          <pc:sldLayoutMkLst>
            <pc:docMk/>
            <pc:sldMasterMk cId="953781931" sldId="2147483705"/>
            <pc:sldLayoutMk cId="1113397493" sldId="2147483655"/>
          </pc:sldLayoutMkLst>
        </pc:sldLayoutChg>
        <pc:sldLayoutChg chg="del">
          <pc:chgData name="William Hunter" userId="fe35ec8f832bb40a" providerId="LiveId" clId="{1CE0BD40-89A8-4A1F-9F41-6C8E89AB2FBB}" dt="2019-06-14T16:38:41.604" v="13" actId="2696"/>
          <pc:sldLayoutMkLst>
            <pc:docMk/>
            <pc:sldMasterMk cId="953781931" sldId="2147483705"/>
            <pc:sldLayoutMk cId="4242512409" sldId="2147483656"/>
          </pc:sldLayoutMkLst>
        </pc:sldLayoutChg>
        <pc:sldLayoutChg chg="del">
          <pc:chgData name="William Hunter" userId="fe35ec8f832bb40a" providerId="LiveId" clId="{1CE0BD40-89A8-4A1F-9F41-6C8E89AB2FBB}" dt="2019-06-14T16:38:41.605" v="14" actId="2696"/>
          <pc:sldLayoutMkLst>
            <pc:docMk/>
            <pc:sldMasterMk cId="953781931" sldId="2147483705"/>
            <pc:sldLayoutMk cId="3416595355" sldId="2147483657"/>
          </pc:sldLayoutMkLst>
        </pc:sldLayoutChg>
        <pc:sldLayoutChg chg="del">
          <pc:chgData name="William Hunter" userId="fe35ec8f832bb40a" providerId="LiveId" clId="{1CE0BD40-89A8-4A1F-9F41-6C8E89AB2FBB}" dt="2019-06-14T16:38:41.605" v="15" actId="2696"/>
          <pc:sldLayoutMkLst>
            <pc:docMk/>
            <pc:sldMasterMk cId="953781931" sldId="2147483705"/>
            <pc:sldLayoutMk cId="2612130100" sldId="2147483658"/>
          </pc:sldLayoutMkLst>
        </pc:sldLayoutChg>
        <pc:sldLayoutChg chg="del">
          <pc:chgData name="William Hunter" userId="fe35ec8f832bb40a" providerId="LiveId" clId="{1CE0BD40-89A8-4A1F-9F41-6C8E89AB2FBB}" dt="2019-06-14T16:38:41.606" v="16" actId="2696"/>
          <pc:sldLayoutMkLst>
            <pc:docMk/>
            <pc:sldMasterMk cId="953781931" sldId="2147483705"/>
            <pc:sldLayoutMk cId="1446312879" sldId="2147483659"/>
          </pc:sldLayoutMkLst>
        </pc:sldLayoutChg>
        <pc:sldLayoutChg chg="del">
          <pc:chgData name="William Hunter" userId="fe35ec8f832bb40a" providerId="LiveId" clId="{1CE0BD40-89A8-4A1F-9F41-6C8E89AB2FBB}" dt="2019-06-14T16:38:41.600" v="7" actId="2696"/>
          <pc:sldLayoutMkLst>
            <pc:docMk/>
            <pc:sldMasterMk cId="953781931" sldId="2147483705"/>
            <pc:sldLayoutMk cId="3325863151" sldId="2147483706"/>
          </pc:sldLayoutMkLst>
        </pc:sldLayoutChg>
      </pc:sldMasterChg>
      <pc:sldMasterChg chg="add del addSldLayout delSldLayout">
        <pc:chgData name="William Hunter" userId="fe35ec8f832bb40a" providerId="LiveId" clId="{1CE0BD40-89A8-4A1F-9F41-6C8E89AB2FBB}" dt="2019-06-14T21:43:38.319" v="3929" actId="2696"/>
        <pc:sldMasterMkLst>
          <pc:docMk/>
          <pc:sldMasterMk cId="2426405339" sldId="2147483781"/>
        </pc:sldMasterMkLst>
        <pc:sldLayoutChg chg="add del">
          <pc:chgData name="William Hunter" userId="fe35ec8f832bb40a" providerId="LiveId" clId="{1CE0BD40-89A8-4A1F-9F41-6C8E89AB2FBB}" dt="2019-06-14T21:43:38.318" v="3928" actId="2696"/>
          <pc:sldLayoutMkLst>
            <pc:docMk/>
            <pc:sldMasterMk cId="2426405339" sldId="2147483781"/>
            <pc:sldLayoutMk cId="2457515163" sldId="2147483783"/>
          </pc:sldLayoutMkLst>
        </pc:sldLayoutChg>
      </pc:sldMasterChg>
      <pc:sldMasterChg chg="replId">
        <pc:chgData name="William Hunter" userId="fe35ec8f832bb40a" providerId="LiveId" clId="{1CE0BD40-89A8-4A1F-9F41-6C8E89AB2FBB}" dt="2019-06-14T20:23:53.177" v="1604" actId="27028"/>
        <pc:sldMasterMkLst>
          <pc:docMk/>
          <pc:sldMasterMk cId="201664310" sldId="2147483784"/>
        </pc:sldMasterMkLst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0A50CF-4D54-4331-A73E-AF8596C64AD3}" type="datetimeFigureOut">
              <a:rPr lang="en-US" smtClean="0"/>
              <a:t>7/1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117599-CF49-44E6-8FC3-30F31F302F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448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file://localhost/Users/cwatson/Dropbox/A&amp;M%20Transfer/A&amp;M_LOGOS/A&amp;M%20Corporate/WEB/PNG/A&amp;M_Corporate_all%20white.png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15681" y="582923"/>
            <a:ext cx="10979572" cy="7243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52"/>
          <p:cNvSpPr>
            <a:spLocks noGrp="1"/>
          </p:cNvSpPr>
          <p:nvPr>
            <p:ph type="body" sz="quarter" idx="34" hasCustomPrompt="1"/>
          </p:nvPr>
        </p:nvSpPr>
        <p:spPr>
          <a:xfrm>
            <a:off x="615681" y="1463926"/>
            <a:ext cx="10979572" cy="3357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82" b="0" i="0" kern="800" spc="0" baseline="0">
                <a:solidFill>
                  <a:schemeClr val="accent3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Subtitle to slide goes her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15681" y="1926523"/>
            <a:ext cx="10979572" cy="144066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3717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4" y="1446"/>
          <a:ext cx="1810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287" imgH="287" progId="TCLayout.ActiveDocument.1">
                  <p:embed/>
                </p:oleObj>
              </mc:Choice>
              <mc:Fallback>
                <p:oleObj name="think-cell Slide" r:id="rId4" imgW="287" imgH="28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4" y="1446"/>
                        <a:ext cx="1810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3" y="-2"/>
            <a:ext cx="12190404" cy="6856855"/>
          </a:xfrm>
          <a:solidFill>
            <a:srgbClr val="D9D9D9"/>
          </a:solidFill>
        </p:spPr>
        <p:txBody>
          <a:bodyPr lIns="72000" tIns="72000" rIns="72000" bIns="72000">
            <a:noAutofit/>
          </a:bodyPr>
          <a:lstStyle>
            <a:lvl1pPr algn="ctr">
              <a:defRPr sz="1824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802" y="2449183"/>
            <a:ext cx="12190404" cy="783884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0" rIns="720000" bIns="0" rtlCol="0" anchor="ctr">
            <a:noAutofit/>
          </a:bodyPr>
          <a:lstStyle>
            <a:lvl1pPr marL="0" indent="0">
              <a:spcAft>
                <a:spcPts val="341"/>
              </a:spcAft>
              <a:buFont typeface="Arial" panose="020B0604020202020204" pitchFamily="34" charset="0"/>
              <a:buNone/>
              <a:defRPr lang="en-US" sz="1824" b="1" spc="0" baseline="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buFont typeface="Arial" panose="020B0604020202020204" pitchFamily="34" charset="0"/>
              <a:buNone/>
              <a:defRPr lang="en-US" sz="1596" b="0" dirty="0" smtClean="0">
                <a:solidFill>
                  <a:schemeClr val="lt1"/>
                </a:solidFill>
              </a:defRPr>
            </a:lvl2pPr>
            <a:lvl3pPr marL="798216" indent="0">
              <a:buFont typeface="Arial" panose="020B0604020202020204" pitchFamily="34" charset="0"/>
              <a:buNone/>
              <a:defRPr lang="en-US" sz="2394" dirty="0" smtClean="0">
                <a:solidFill>
                  <a:schemeClr val="lt1"/>
                </a:solidFill>
              </a:defRPr>
            </a:lvl3pPr>
            <a:lvl4pPr marL="1575581" indent="0">
              <a:buNone/>
              <a:defRPr lang="en-US" sz="2394" dirty="0" smtClean="0">
                <a:solidFill>
                  <a:schemeClr val="lt1"/>
                </a:solidFill>
              </a:defRPr>
            </a:lvl4pPr>
            <a:lvl5pPr marL="2177392" indent="0">
              <a:buNone/>
              <a:defRPr lang="en-GB" sz="2394" dirty="0">
                <a:solidFill>
                  <a:schemeClr val="lt1"/>
                </a:solidFill>
              </a:defRPr>
            </a:lvl5pPr>
          </a:lstStyle>
          <a:p>
            <a:pPr lvl="0">
              <a:lnSpc>
                <a:spcPct val="90000"/>
              </a:lnSpc>
            </a:pPr>
            <a:r>
              <a:rPr lang="en-US" dirty="0"/>
              <a:t>Nam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Month Day, Year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r:link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006" y="5548441"/>
            <a:ext cx="1531517" cy="10765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2858" y="2754207"/>
            <a:ext cx="2723664" cy="1738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5677" y="1097700"/>
            <a:ext cx="10363200" cy="1470026"/>
          </a:xfrm>
          <a:prstGeom prst="rect">
            <a:avLst/>
          </a:prstGeom>
        </p:spPr>
        <p:txBody>
          <a:bodyPr/>
          <a:lstStyle>
            <a:lvl1pPr>
              <a:defRPr lang="en-GB" sz="6383" b="1" kern="1200" spc="0" baseline="0" dirty="0">
                <a:solidFill>
                  <a:schemeClr val="bg1"/>
                </a:solidFill>
                <a:latin typeface="+mj-lt"/>
                <a:ea typeface="Arial Bold" charset="0"/>
                <a:cs typeface="Arial Bold" charset="0"/>
              </a:defRPr>
            </a:lvl1pPr>
          </a:lstStyle>
          <a:p>
            <a:r>
              <a:rPr lang="en-US" noProof="0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23118941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/>
          <p:cNvSpPr>
            <a:spLocks noGrp="1"/>
          </p:cNvSpPr>
          <p:nvPr>
            <p:ph type="body" idx="1"/>
          </p:nvPr>
        </p:nvSpPr>
        <p:spPr>
          <a:xfrm>
            <a:off x="594594" y="1925119"/>
            <a:ext cx="10991971" cy="2888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Heading 1</a:t>
            </a:r>
          </a:p>
          <a:p>
            <a:pPr lvl="1"/>
            <a:r>
              <a:rPr lang="en-US" dirty="0"/>
              <a:t>Heading 2</a:t>
            </a:r>
          </a:p>
          <a:p>
            <a:pPr lvl="2"/>
            <a:r>
              <a:rPr lang="en-US" dirty="0"/>
              <a:t>Body text</a:t>
            </a:r>
          </a:p>
          <a:p>
            <a:pPr lvl="3"/>
            <a:r>
              <a:rPr lang="en-US" dirty="0"/>
              <a:t>Bullet 1</a:t>
            </a:r>
          </a:p>
          <a:p>
            <a:pPr lvl="4"/>
            <a:r>
              <a:rPr lang="en-US" dirty="0"/>
              <a:t>Bullet 2</a:t>
            </a:r>
          </a:p>
          <a:p>
            <a:pPr lvl="5"/>
            <a:r>
              <a:rPr lang="en-US" dirty="0"/>
              <a:t>Bullet 3</a:t>
            </a:r>
          </a:p>
          <a:p>
            <a:pPr lvl="6"/>
            <a:r>
              <a:rPr lang="en-US" dirty="0"/>
              <a:t>Bullet 4</a:t>
            </a:r>
          </a:p>
          <a:p>
            <a:pPr lvl="7"/>
            <a:r>
              <a:rPr lang="en-US" dirty="0"/>
              <a:t>Number 1</a:t>
            </a:r>
          </a:p>
          <a:p>
            <a:pPr lvl="8"/>
            <a:r>
              <a:rPr lang="en-US" dirty="0"/>
              <a:t>Number 2</a:t>
            </a:r>
          </a:p>
        </p:txBody>
      </p:sp>
      <p:sp>
        <p:nvSpPr>
          <p:cNvPr id="28" name="Title Placeholder 27"/>
          <p:cNvSpPr>
            <a:spLocks noGrp="1"/>
          </p:cNvSpPr>
          <p:nvPr>
            <p:ph type="title"/>
          </p:nvPr>
        </p:nvSpPr>
        <p:spPr>
          <a:xfrm>
            <a:off x="594595" y="582923"/>
            <a:ext cx="11000659" cy="7243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Slide title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615678" y="1400638"/>
            <a:ext cx="10978129" cy="1"/>
            <a:chOff x="534549" y="1544262"/>
            <a:chExt cx="9628733" cy="1"/>
          </a:xfrm>
        </p:grpSpPr>
        <p:cxnSp>
          <p:nvCxnSpPr>
            <p:cNvPr id="19" name="Straight Connector 18"/>
            <p:cNvCxnSpPr/>
            <p:nvPr userDrawn="1"/>
          </p:nvCxnSpPr>
          <p:spPr>
            <a:xfrm>
              <a:off x="534549" y="1544262"/>
              <a:ext cx="9628733" cy="0"/>
            </a:xfrm>
            <a:prstGeom prst="line">
              <a:avLst/>
            </a:prstGeom>
            <a:ln w="50800">
              <a:solidFill>
                <a:schemeClr val="accent3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534549" y="1544263"/>
              <a:ext cx="2503238" cy="0"/>
            </a:xfrm>
            <a:prstGeom prst="line">
              <a:avLst/>
            </a:prstGeom>
            <a:ln w="508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 33"/>
          <p:cNvSpPr/>
          <p:nvPr userDrawn="1"/>
        </p:nvSpPr>
        <p:spPr>
          <a:xfrm flipH="1">
            <a:off x="-2" y="1480730"/>
            <a:ext cx="196363" cy="45105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2353" tIns="21176" rIns="42353" bIns="21176" rtlCol="0" anchor="ctr"/>
          <a:lstStyle/>
          <a:p>
            <a:pPr algn="ctr"/>
            <a:endParaRPr lang="en-US" sz="734" b="1" dirty="0">
              <a:solidFill>
                <a:srgbClr val="2C9398"/>
              </a:solidFill>
              <a:latin typeface="Impact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5900055" y="6499587"/>
            <a:ext cx="410818" cy="1678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fld id="{D88576D6-29B7-49AB-B70B-CBD69FC026C8}" type="slidenum">
              <a:rPr lang="en-US" sz="1091" smtClean="0"/>
              <a:pPr algn="ctr"/>
              <a:t>‹#›</a:t>
            </a:fld>
            <a:endParaRPr lang="en-US" sz="1091" dirty="0"/>
          </a:p>
        </p:txBody>
      </p:sp>
      <p:sp>
        <p:nvSpPr>
          <p:cNvPr id="2" name="TextBox 15"/>
          <p:cNvSpPr txBox="1"/>
          <p:nvPr userDrawn="1"/>
        </p:nvSpPr>
        <p:spPr>
          <a:xfrm>
            <a:off x="615678" y="6478333"/>
            <a:ext cx="4694780" cy="1678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l"/>
            <a:r>
              <a:rPr lang="en-US" sz="1091" dirty="0"/>
              <a:t>Analytics | August 02, 2018</a:t>
            </a:r>
          </a:p>
        </p:txBody>
      </p:sp>
      <p:pic>
        <p:nvPicPr>
          <p:cNvPr id="17" name="A&amp;M Tax full logo blue" hidden="1">
            <a:extLst>
              <a:ext uri="{FF2B5EF4-FFF2-40B4-BE49-F238E27FC236}">
                <a16:creationId xmlns:a16="http://schemas.microsoft.com/office/drawing/2014/main" id="{B3A23AB6-BC7D-41AB-8FC8-BABE683D6E4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10296" y="6371253"/>
            <a:ext cx="1596048" cy="260874"/>
          </a:xfrm>
          <a:prstGeom prst="rect">
            <a:avLst/>
          </a:prstGeom>
        </p:spPr>
      </p:pic>
      <p:pic>
        <p:nvPicPr>
          <p:cNvPr id="18" name="A&amp;M standard full logo white" hidden="1">
            <a:extLst>
              <a:ext uri="{FF2B5EF4-FFF2-40B4-BE49-F238E27FC236}">
                <a16:creationId xmlns:a16="http://schemas.microsoft.com/office/drawing/2014/main" id="{E5903B89-FCFB-489A-8F04-634BA4986DA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413968" y="6496733"/>
            <a:ext cx="2183481" cy="126402"/>
          </a:xfrm>
          <a:prstGeom prst="rect">
            <a:avLst/>
          </a:prstGeom>
        </p:spPr>
      </p:pic>
      <p:pic>
        <p:nvPicPr>
          <p:cNvPr id="21" name="A&amp;M Tax full logo white" hidden="1">
            <a:extLst>
              <a:ext uri="{FF2B5EF4-FFF2-40B4-BE49-F238E27FC236}">
                <a16:creationId xmlns:a16="http://schemas.microsoft.com/office/drawing/2014/main" id="{A082774A-216A-4652-A539-027D4A0BCC4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10296" y="6371253"/>
            <a:ext cx="1596048" cy="260874"/>
          </a:xfrm>
          <a:prstGeom prst="rect">
            <a:avLst/>
          </a:prstGeom>
        </p:spPr>
      </p:pic>
      <p:pic>
        <p:nvPicPr>
          <p:cNvPr id="22" name="A&amp;M standard full logo blue">
            <a:extLst>
              <a:ext uri="{FF2B5EF4-FFF2-40B4-BE49-F238E27FC236}">
                <a16:creationId xmlns:a16="http://schemas.microsoft.com/office/drawing/2014/main" id="{D29B66C9-8DB9-4EDD-9C49-37BF701D6D5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413968" y="6496733"/>
            <a:ext cx="2183481" cy="126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64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04" r:id="rId2"/>
  </p:sldLayoutIdLst>
  <p:hf hdr="0" ftr="0" dt="0"/>
  <p:txStyles>
    <p:titleStyle>
      <a:lvl1pPr marL="0" algn="l" defTabSz="1347622" rtl="0" eaLnBrk="1" latinLnBrk="0" hangingPunct="1">
        <a:spcBef>
          <a:spcPct val="0"/>
        </a:spcBef>
        <a:buNone/>
        <a:defRPr lang="en-GB" sz="3846" kern="1200" dirty="0" smtClean="0">
          <a:solidFill>
            <a:schemeClr val="accent3"/>
          </a:solidFill>
          <a:latin typeface="+mj-lt"/>
          <a:ea typeface="+mn-ea"/>
          <a:cs typeface="Arial" panose="020B0604020202020204" pitchFamily="34" charset="0"/>
        </a:defRPr>
      </a:lvl1pPr>
    </p:titleStyle>
    <p:bodyStyle>
      <a:lvl1pPr marL="0" indent="0" algn="l" defTabSz="1347622" rtl="0" eaLnBrk="1" latinLnBrk="0" hangingPunct="1">
        <a:spcBef>
          <a:spcPts val="0"/>
        </a:spcBef>
        <a:spcAft>
          <a:spcPts val="1099"/>
        </a:spcAft>
        <a:buFont typeface="Arial" panose="020B0604020202020204" pitchFamily="34" charset="0"/>
        <a:buNone/>
        <a:defRPr sz="1923" b="1" kern="1200">
          <a:solidFill>
            <a:schemeClr val="accent3"/>
          </a:solidFill>
          <a:latin typeface="+mj-lt"/>
          <a:ea typeface="+mn-ea"/>
          <a:cs typeface="+mn-cs"/>
        </a:defRPr>
      </a:lvl1pPr>
      <a:lvl2pPr marL="0" indent="0" algn="l" defTabSz="1347622" rtl="0" eaLnBrk="1" latinLnBrk="0" hangingPunct="1">
        <a:spcBef>
          <a:spcPts val="0"/>
        </a:spcBef>
        <a:spcAft>
          <a:spcPts val="824"/>
        </a:spcAft>
        <a:buFont typeface="Arial" panose="020B0604020202020204" pitchFamily="34" charset="0"/>
        <a:buNone/>
        <a:defRPr sz="1648" b="1" kern="1200" cap="none" baseline="0">
          <a:solidFill>
            <a:schemeClr val="tx1"/>
          </a:solidFill>
          <a:latin typeface="+mj-lt"/>
          <a:ea typeface="+mn-ea"/>
          <a:cs typeface="+mn-cs"/>
        </a:defRPr>
      </a:lvl2pPr>
      <a:lvl3pPr marL="2052" indent="0" algn="l" defTabSz="1347622" rtl="0" eaLnBrk="1" latinLnBrk="0" hangingPunct="1">
        <a:spcBef>
          <a:spcPts val="0"/>
        </a:spcBef>
        <a:spcAft>
          <a:spcPts val="824"/>
        </a:spcAft>
        <a:buFont typeface="Arial" panose="020B0604020202020204" pitchFamily="34" charset="0"/>
        <a:buNone/>
        <a:defRPr sz="1374" kern="1200">
          <a:solidFill>
            <a:schemeClr val="tx1"/>
          </a:solidFill>
          <a:latin typeface="+mn-lt"/>
          <a:ea typeface="+mn-ea"/>
          <a:cs typeface="+mn-cs"/>
        </a:defRPr>
      </a:lvl3pPr>
      <a:lvl4pPr marL="252189" indent="-252189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Wingdings" panose="05000000000000000000" pitchFamily="2" charset="2"/>
        <a:buChar char="§"/>
        <a:defRPr sz="1374" kern="1200">
          <a:solidFill>
            <a:schemeClr val="tx1"/>
          </a:solidFill>
          <a:latin typeface="+mn-lt"/>
          <a:ea typeface="+mn-ea"/>
          <a:cs typeface="+mn-cs"/>
        </a:defRPr>
      </a:lvl4pPr>
      <a:lvl5pPr marL="494491" indent="-242300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Segoe UI" panose="020B0502040204020203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5pPr>
      <a:lvl6pPr marL="741393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Arial" panose="020B0604020202020204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6pPr>
      <a:lvl7pPr marL="992158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Arial" panose="020B0604020202020204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7pPr>
      <a:lvl8pPr marL="250766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+mj-lt"/>
        <a:buAutoNum type="arabicPeriod"/>
        <a:defRPr sz="1374" kern="1200">
          <a:solidFill>
            <a:schemeClr val="tx1"/>
          </a:solidFill>
          <a:latin typeface="+mn-lt"/>
          <a:ea typeface="+mn-ea"/>
          <a:cs typeface="+mn-cs"/>
        </a:defRPr>
      </a:lvl8pPr>
      <a:lvl9pPr marL="488447" indent="-237682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+mj-lt"/>
        <a:buAutoNum type="alphaLcPeriod"/>
        <a:defRPr sz="137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1pPr>
      <a:lvl2pPr marL="673811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2pPr>
      <a:lvl3pPr marL="1347622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3pPr>
      <a:lvl4pPr marL="2021434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4pPr>
      <a:lvl5pPr marL="2695245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5pPr>
      <a:lvl6pPr marL="3369054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6pPr>
      <a:lvl7pPr marL="4042865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7pPr>
      <a:lvl8pPr marL="4716677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8pPr>
      <a:lvl9pPr marL="5390488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374" userDrawn="1">
          <p15:clr>
            <a:srgbClr val="F26B43"/>
          </p15:clr>
        </p15:guide>
        <p15:guide id="3" pos="7306" userDrawn="1">
          <p15:clr>
            <a:srgbClr val="F26B43"/>
          </p15:clr>
        </p15:guide>
        <p15:guide id="4" orient="horz" pos="3921" userDrawn="1">
          <p15:clr>
            <a:srgbClr val="F26B43"/>
          </p15:clr>
        </p15:guide>
        <p15:guide id="6" pos="3736" userDrawn="1">
          <p15:clr>
            <a:srgbClr val="F26B43"/>
          </p15:clr>
        </p15:guide>
        <p15:guide id="7" pos="3944" userDrawn="1">
          <p15:clr>
            <a:srgbClr val="F26B43"/>
          </p15:clr>
        </p15:guide>
        <p15:guide id="8" orient="horz" pos="1199" userDrawn="1">
          <p15:clr>
            <a:srgbClr val="F26B43"/>
          </p15:clr>
        </p15:guide>
        <p15:guide id="9" orient="horz" pos="359" userDrawn="1">
          <p15:clr>
            <a:srgbClr val="F26B43"/>
          </p15:clr>
        </p15:guide>
        <p15:guide id="10" orient="horz" pos="41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5" Type="http://schemas.openxmlformats.org/officeDocument/2006/relationships/image" Target="file://localhost/Users/cwatson/Dropbox/A&amp;M%20Transfer/A&amp;M_LOGOS/A&amp;M%20Corporate/WEB/PNG/A&amp;M_Corporate_all%20white.png" TargetMode="Externa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" r="1509"/>
          <a:stretch>
            <a:fillRect/>
          </a:stretch>
        </p:blipFill>
        <p:spPr>
          <a:xfrm>
            <a:off x="1601" y="-26066"/>
            <a:ext cx="12189597" cy="6884066"/>
          </a:xfr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pic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en-US" sz="3200" spc="-22" dirty="0">
                <a:solidFill>
                  <a:schemeClr val="accent2">
                    <a:lumMod val="40000"/>
                    <a:lumOff val="60000"/>
                  </a:schemeClr>
                </a:solidFill>
                <a:ea typeface="Times New Roman"/>
              </a:rPr>
              <a:t>Opportunity Hunter</a:t>
            </a:r>
            <a:endParaRPr lang="en-US" sz="2800" spc="-22" dirty="0">
              <a:solidFill>
                <a:schemeClr val="bg1"/>
              </a:solidFill>
              <a:ea typeface="Times New Roman"/>
            </a:endParaRPr>
          </a:p>
          <a:p>
            <a:pPr lvl="1"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July 15th, 2019</a:t>
            </a:r>
          </a:p>
        </p:txBody>
      </p:sp>
      <p:sp>
        <p:nvSpPr>
          <p:cNvPr id="18" name="Title 17"/>
          <p:cNvSpPr>
            <a:spLocks noGrp="1"/>
          </p:cNvSpPr>
          <p:nvPr>
            <p:ph type="ctrTitle"/>
          </p:nvPr>
        </p:nvSpPr>
        <p:spPr>
          <a:xfrm>
            <a:off x="738502" y="601273"/>
            <a:ext cx="10980841" cy="1847910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990" dirty="0">
                <a:solidFill>
                  <a:schemeClr val="bg1"/>
                </a:solidFill>
              </a:rPr>
              <a:t>William Hunter Weekly Update:</a:t>
            </a:r>
            <a:br>
              <a:rPr lang="en-US" sz="3990" dirty="0">
                <a:solidFill>
                  <a:schemeClr val="bg1"/>
                </a:solidFill>
              </a:rPr>
            </a:br>
            <a:r>
              <a:rPr lang="en-US" sz="3990" dirty="0">
                <a:solidFill>
                  <a:schemeClr val="bg1"/>
                </a:solidFill>
              </a:rPr>
              <a:t>Week of 7/15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100" y="2944676"/>
            <a:ext cx="2723664" cy="21852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r:link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7467" y="5897987"/>
            <a:ext cx="961120" cy="84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3060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hat did I hope to achieve?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Weekly Objectiv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5, 2019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DB0955A-E971-4B30-BB58-BE5E21B87E38}"/>
              </a:ext>
            </a:extLst>
          </p:cNvPr>
          <p:cNvSpPr>
            <a:spLocks noChangeAspect="1"/>
          </p:cNvSpPr>
          <p:nvPr/>
        </p:nvSpPr>
        <p:spPr>
          <a:xfrm>
            <a:off x="1325880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028FBAD-9998-48FC-AC99-DA3D0FCEE00A}"/>
              </a:ext>
            </a:extLst>
          </p:cNvPr>
          <p:cNvSpPr/>
          <p:nvPr/>
        </p:nvSpPr>
        <p:spPr>
          <a:xfrm>
            <a:off x="1402080" y="1914485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  <a:latin typeface="Helvetica" pitchFamily="2" charset="0"/>
            </a:endParaRPr>
          </a:p>
        </p:txBody>
      </p:sp>
      <p:sp>
        <p:nvSpPr>
          <p:cNvPr id="27" name="Rounded Rectangle 20">
            <a:extLst>
              <a:ext uri="{FF2B5EF4-FFF2-40B4-BE49-F238E27FC236}">
                <a16:creationId xmlns:a16="http://schemas.microsoft.com/office/drawing/2014/main" id="{C0743BF0-67BC-4ACA-A6F1-A00AFAF1FD90}"/>
              </a:ext>
            </a:extLst>
          </p:cNvPr>
          <p:cNvSpPr/>
          <p:nvPr/>
        </p:nvSpPr>
        <p:spPr>
          <a:xfrm>
            <a:off x="1028700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Helvetica" pitchFamily="2" charset="0"/>
              </a:rPr>
              <a:t>Email Results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54E45F92-0326-4467-A43B-2F0717CD3C87}"/>
              </a:ext>
            </a:extLst>
          </p:cNvPr>
          <p:cNvSpPr>
            <a:spLocks noChangeAspect="1"/>
          </p:cNvSpPr>
          <p:nvPr/>
        </p:nvSpPr>
        <p:spPr>
          <a:xfrm>
            <a:off x="4953000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118FC50-9421-4553-96D3-A6B246168FEB}"/>
              </a:ext>
            </a:extLst>
          </p:cNvPr>
          <p:cNvSpPr/>
          <p:nvPr/>
        </p:nvSpPr>
        <p:spPr>
          <a:xfrm>
            <a:off x="5038078" y="1923364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0" name="Rounded Rectangle 23">
            <a:extLst>
              <a:ext uri="{FF2B5EF4-FFF2-40B4-BE49-F238E27FC236}">
                <a16:creationId xmlns:a16="http://schemas.microsoft.com/office/drawing/2014/main" id="{28C2B99E-A1B7-463D-B0D7-BDE5683472D5}"/>
              </a:ext>
            </a:extLst>
          </p:cNvPr>
          <p:cNvSpPr/>
          <p:nvPr/>
        </p:nvSpPr>
        <p:spPr>
          <a:xfrm>
            <a:off x="4662304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Helvetica" pitchFamily="2" charset="0"/>
              </a:rPr>
              <a:t>Clean up the Python Code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20361811-E198-4368-BED2-843A53296E2E}"/>
              </a:ext>
            </a:extLst>
          </p:cNvPr>
          <p:cNvSpPr>
            <a:spLocks noChangeAspect="1"/>
          </p:cNvSpPr>
          <p:nvPr/>
        </p:nvSpPr>
        <p:spPr>
          <a:xfrm>
            <a:off x="8586794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0E6C342-84C8-4B14-A238-65245998A1EC}"/>
              </a:ext>
            </a:extLst>
          </p:cNvPr>
          <p:cNvSpPr/>
          <p:nvPr/>
        </p:nvSpPr>
        <p:spPr>
          <a:xfrm>
            <a:off x="8669289" y="1914485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3" name="Rounded Rectangle 26">
            <a:extLst>
              <a:ext uri="{FF2B5EF4-FFF2-40B4-BE49-F238E27FC236}">
                <a16:creationId xmlns:a16="http://schemas.microsoft.com/office/drawing/2014/main" id="{B0107170-0F62-4EF2-8A84-70B98950B457}"/>
              </a:ext>
            </a:extLst>
          </p:cNvPr>
          <p:cNvSpPr/>
          <p:nvPr/>
        </p:nvSpPr>
        <p:spPr>
          <a:xfrm>
            <a:off x="8295909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Helvetica" pitchFamily="2" charset="0"/>
              </a:rPr>
              <a:t>Fully Automate the Proces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A498D46-9ABB-4D4C-88DA-46B470B4B88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77" t="8501" r="12477" b="21346"/>
          <a:stretch/>
        </p:blipFill>
        <p:spPr>
          <a:xfrm>
            <a:off x="8880473" y="1988925"/>
            <a:ext cx="1792912" cy="167606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E910FD7-3482-4E45-9BDA-E2C35000EB9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4" t="10556" r="7224" b="25504"/>
          <a:stretch/>
        </p:blipFill>
        <p:spPr>
          <a:xfrm>
            <a:off x="1633714" y="2331769"/>
            <a:ext cx="1627706" cy="1203857"/>
          </a:xfrm>
          <a:prstGeom prst="rect">
            <a:avLst/>
          </a:prstGeom>
        </p:spPr>
      </p:pic>
      <p:pic>
        <p:nvPicPr>
          <p:cNvPr id="19" name="Picture 18" descr="A picture containing shoji, building&#10;&#10;Description automatically generated">
            <a:extLst>
              <a:ext uri="{FF2B5EF4-FFF2-40B4-BE49-F238E27FC236}">
                <a16:creationId xmlns:a16="http://schemas.microsoft.com/office/drawing/2014/main" id="{9AFE0B1E-A192-4895-86AF-6D87CAEB5A7D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2407" y="2147883"/>
            <a:ext cx="1627185" cy="1630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5977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eekly Progres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Emailing 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5, 2019</a:t>
            </a:r>
          </a:p>
        </p:txBody>
      </p:sp>
      <p:sp>
        <p:nvSpPr>
          <p:cNvPr id="46" name="Google Shape;407;p28">
            <a:extLst>
              <a:ext uri="{FF2B5EF4-FFF2-40B4-BE49-F238E27FC236}">
                <a16:creationId xmlns:a16="http://schemas.microsoft.com/office/drawing/2014/main" id="{0F9E8AE0-F9FA-405B-88C2-930B0FA79F62}"/>
              </a:ext>
            </a:extLst>
          </p:cNvPr>
          <p:cNvSpPr/>
          <p:nvPr/>
        </p:nvSpPr>
        <p:spPr>
          <a:xfrm>
            <a:off x="4186697" y="3201916"/>
            <a:ext cx="427041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1BF6BDF-E250-474C-9BE7-BE4006AE170A}"/>
              </a:ext>
            </a:extLst>
          </p:cNvPr>
          <p:cNvSpPr/>
          <p:nvPr/>
        </p:nvSpPr>
        <p:spPr>
          <a:xfrm>
            <a:off x="1682552" y="1871165"/>
            <a:ext cx="3702320" cy="4341745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9DCEEE-4D8B-4876-A418-F265CE94ED03}"/>
              </a:ext>
            </a:extLst>
          </p:cNvPr>
          <p:cNvSpPr txBox="1"/>
          <p:nvPr/>
        </p:nvSpPr>
        <p:spPr>
          <a:xfrm>
            <a:off x="1938975" y="2001202"/>
            <a:ext cx="3189477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As you know, I am able to email the team the reports now.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Tried a couple approaches, using Outlook and Windows, but Python’s easiest.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Python will use select queries in database, and export the results into excel sheets, and creating file.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2250F42-60D4-4223-9AA8-D8BBBF2B8A29}"/>
              </a:ext>
            </a:extLst>
          </p:cNvPr>
          <p:cNvSpPr/>
          <p:nvPr/>
        </p:nvSpPr>
        <p:spPr>
          <a:xfrm>
            <a:off x="6807128" y="1868043"/>
            <a:ext cx="3702320" cy="4341745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BA02CC5-F262-4A20-9E77-C09A9BFFFDB0}"/>
              </a:ext>
            </a:extLst>
          </p:cNvPr>
          <p:cNvSpPr txBox="1"/>
          <p:nvPr/>
        </p:nvSpPr>
        <p:spPr>
          <a:xfrm>
            <a:off x="7063549" y="1992201"/>
            <a:ext cx="3189477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This can be expanded easily. Currently by text file, but I can switch this to a SQL table.</a:t>
            </a:r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Logs in to throwaway Gmail account. Information stored in text file.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Uses Queries and HTML to create table that quick updates the team on additions.</a:t>
            </a:r>
          </a:p>
        </p:txBody>
      </p:sp>
    </p:spTree>
    <p:extLst>
      <p:ext uri="{BB962C8B-B14F-4D97-AF65-F5344CB8AC3E}">
        <p14:creationId xmlns:p14="http://schemas.microsoft.com/office/powerpoint/2010/main" val="822760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eekly Progres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Cleaning Python Cod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5, 2019</a:t>
            </a:r>
          </a:p>
        </p:txBody>
      </p:sp>
      <p:sp>
        <p:nvSpPr>
          <p:cNvPr id="30" name="Google Shape;398;p28">
            <a:extLst>
              <a:ext uri="{FF2B5EF4-FFF2-40B4-BE49-F238E27FC236}">
                <a16:creationId xmlns:a16="http://schemas.microsoft.com/office/drawing/2014/main" id="{D7DDFAB1-270C-47A1-A5ED-3CA321EE66EB}"/>
              </a:ext>
            </a:extLst>
          </p:cNvPr>
          <p:cNvSpPr/>
          <p:nvPr/>
        </p:nvSpPr>
        <p:spPr>
          <a:xfrm>
            <a:off x="4186697" y="4829337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1" name="Google Shape;398;p28">
            <a:extLst>
              <a:ext uri="{FF2B5EF4-FFF2-40B4-BE49-F238E27FC236}">
                <a16:creationId xmlns:a16="http://schemas.microsoft.com/office/drawing/2014/main" id="{573F3348-98AD-43BF-9A82-75F7873CF092}"/>
              </a:ext>
            </a:extLst>
          </p:cNvPr>
          <p:cNvSpPr/>
          <p:nvPr/>
        </p:nvSpPr>
        <p:spPr>
          <a:xfrm>
            <a:off x="4186697" y="3321133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2" name="Google Shape;398;p28">
            <a:extLst>
              <a:ext uri="{FF2B5EF4-FFF2-40B4-BE49-F238E27FC236}">
                <a16:creationId xmlns:a16="http://schemas.microsoft.com/office/drawing/2014/main" id="{686BB467-BA4F-4D39-8446-0EBE223B8C3A}"/>
              </a:ext>
            </a:extLst>
          </p:cNvPr>
          <p:cNvSpPr/>
          <p:nvPr/>
        </p:nvSpPr>
        <p:spPr>
          <a:xfrm>
            <a:off x="4186697" y="1714646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397;p28">
            <a:extLst>
              <a:ext uri="{FF2B5EF4-FFF2-40B4-BE49-F238E27FC236}">
                <a16:creationId xmlns:a16="http://schemas.microsoft.com/office/drawing/2014/main" id="{6431C94A-BAFA-44E2-8F59-BC8B2D3C142A}"/>
              </a:ext>
            </a:extLst>
          </p:cNvPr>
          <p:cNvSpPr/>
          <p:nvPr/>
        </p:nvSpPr>
        <p:spPr>
          <a:xfrm>
            <a:off x="4027735" y="3429406"/>
            <a:ext cx="4588329" cy="12836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/>
                <a:sym typeface="Calibri"/>
              </a:rPr>
              <a:t>Created a method to safely run SQL queries without hardcoding.</a:t>
            </a:r>
          </a:p>
        </p:txBody>
      </p:sp>
      <p:sp>
        <p:nvSpPr>
          <p:cNvPr id="40" name="Google Shape;398;p28">
            <a:extLst>
              <a:ext uri="{FF2B5EF4-FFF2-40B4-BE49-F238E27FC236}">
                <a16:creationId xmlns:a16="http://schemas.microsoft.com/office/drawing/2014/main" id="{6D7A5647-D3EE-40B2-B47A-362F27297A53}"/>
              </a:ext>
            </a:extLst>
          </p:cNvPr>
          <p:cNvSpPr/>
          <p:nvPr/>
        </p:nvSpPr>
        <p:spPr>
          <a:xfrm>
            <a:off x="4027735" y="1836871"/>
            <a:ext cx="4588329" cy="1325563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44" name="Google Shape;406;p28">
            <a:extLst>
              <a:ext uri="{FF2B5EF4-FFF2-40B4-BE49-F238E27FC236}">
                <a16:creationId xmlns:a16="http://schemas.microsoft.com/office/drawing/2014/main" id="{F091D0BD-E995-4871-A16E-2AE6A1443418}"/>
              </a:ext>
            </a:extLst>
          </p:cNvPr>
          <p:cNvSpPr/>
          <p:nvPr/>
        </p:nvSpPr>
        <p:spPr>
          <a:xfrm>
            <a:off x="3996358" y="1861776"/>
            <a:ext cx="4589987" cy="12867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 panose="020F0502020204030204" pitchFamily="34" charset="0"/>
                <a:sym typeface="Calibri"/>
              </a:rPr>
              <a:t>Migrate all python scripts into one master program.</a:t>
            </a:r>
          </a:p>
        </p:txBody>
      </p:sp>
      <p:sp>
        <p:nvSpPr>
          <p:cNvPr id="46" name="Google Shape;407;p28">
            <a:extLst>
              <a:ext uri="{FF2B5EF4-FFF2-40B4-BE49-F238E27FC236}">
                <a16:creationId xmlns:a16="http://schemas.microsoft.com/office/drawing/2014/main" id="{0F9E8AE0-F9FA-405B-88C2-930B0FA79F62}"/>
              </a:ext>
            </a:extLst>
          </p:cNvPr>
          <p:cNvSpPr/>
          <p:nvPr/>
        </p:nvSpPr>
        <p:spPr>
          <a:xfrm>
            <a:off x="4186697" y="3201916"/>
            <a:ext cx="427041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408;p28">
            <a:extLst>
              <a:ext uri="{FF2B5EF4-FFF2-40B4-BE49-F238E27FC236}">
                <a16:creationId xmlns:a16="http://schemas.microsoft.com/office/drawing/2014/main" id="{D4322F64-E42F-486C-AD3E-5A82E3908875}"/>
              </a:ext>
            </a:extLst>
          </p:cNvPr>
          <p:cNvSpPr/>
          <p:nvPr/>
        </p:nvSpPr>
        <p:spPr>
          <a:xfrm>
            <a:off x="4027737" y="4936451"/>
            <a:ext cx="4588329" cy="12867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/>
                <a:sym typeface="Calibri"/>
              </a:rPr>
              <a:t>Added many print statements so it is easier to see </a:t>
            </a:r>
            <a:r>
              <a:rPr lang="en-US" sz="2400" dirty="0" err="1">
                <a:solidFill>
                  <a:schemeClr val="bg1"/>
                </a:solidFill>
                <a:latin typeface="Helvetica" pitchFamily="2" charset="0"/>
                <a:ea typeface="Calibri"/>
                <a:cs typeface="Calibri"/>
                <a:sym typeface="Calibri"/>
              </a:rPr>
              <a:t>whats</a:t>
            </a: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/>
                <a:sym typeface="Calibri"/>
              </a:rPr>
              <a:t> happening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4954B68-AF7F-47AE-9C98-88A46F24B35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97" t="2154" r="9541" b="16564"/>
          <a:stretch/>
        </p:blipFill>
        <p:spPr>
          <a:xfrm>
            <a:off x="2677211" y="3590008"/>
            <a:ext cx="1153903" cy="114292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937B5A8-0F03-4700-AD53-A007B8D13CA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81" b="21548"/>
          <a:stretch/>
        </p:blipFill>
        <p:spPr>
          <a:xfrm>
            <a:off x="2401220" y="1828831"/>
            <a:ext cx="1579450" cy="131935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63CEDE1-0159-4B38-AA75-EB1FC9AE6D3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" t="5224" r="9129" b="18901"/>
          <a:stretch/>
        </p:blipFill>
        <p:spPr>
          <a:xfrm>
            <a:off x="2374830" y="4940702"/>
            <a:ext cx="1451759" cy="1214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2900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546AE66-BDDF-4C84-A5C4-DD38B22E179B}"/>
              </a:ext>
            </a:extLst>
          </p:cNvPr>
          <p:cNvSpPr/>
          <p:nvPr/>
        </p:nvSpPr>
        <p:spPr>
          <a:xfrm>
            <a:off x="1843983" y="2136139"/>
            <a:ext cx="3658695" cy="74886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eekly Progres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Fully Automate the Proces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5, 2019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FCFF86C-9CC6-41D8-B1C7-B6C5C8C45675}"/>
              </a:ext>
            </a:extLst>
          </p:cNvPr>
          <p:cNvSpPr/>
          <p:nvPr/>
        </p:nvSpPr>
        <p:spPr>
          <a:xfrm>
            <a:off x="1539315" y="2126537"/>
            <a:ext cx="748862" cy="748862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978FDC4-7A22-4C71-B6AB-AA733DE25FB5}"/>
              </a:ext>
            </a:extLst>
          </p:cNvPr>
          <p:cNvSpPr/>
          <p:nvPr/>
        </p:nvSpPr>
        <p:spPr>
          <a:xfrm>
            <a:off x="1489260" y="2136139"/>
            <a:ext cx="748862" cy="748862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7" name="Graphic 6" descr="Checkmark">
            <a:extLst>
              <a:ext uri="{FF2B5EF4-FFF2-40B4-BE49-F238E27FC236}">
                <a16:creationId xmlns:a16="http://schemas.microsoft.com/office/drawing/2014/main" id="{A44575F7-A50E-4031-8F01-9F71F85685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2145339"/>
            <a:ext cx="648751" cy="7571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1BCECDE-7806-41B5-B30C-8344259DD9B7}"/>
              </a:ext>
            </a:extLst>
          </p:cNvPr>
          <p:cNvSpPr txBox="1"/>
          <p:nvPr/>
        </p:nvSpPr>
        <p:spPr>
          <a:xfrm>
            <a:off x="2244800" y="2270135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Merge All Pytho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9D5ED09-5DD3-43D6-B109-B0A56A814B2B}"/>
              </a:ext>
            </a:extLst>
          </p:cNvPr>
          <p:cNvSpPr/>
          <p:nvPr/>
        </p:nvSpPr>
        <p:spPr>
          <a:xfrm>
            <a:off x="1843983" y="3179372"/>
            <a:ext cx="3658695" cy="7488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BF26284-AFDE-4F17-9202-581E83C51075}"/>
              </a:ext>
            </a:extLst>
          </p:cNvPr>
          <p:cNvSpPr/>
          <p:nvPr/>
        </p:nvSpPr>
        <p:spPr>
          <a:xfrm>
            <a:off x="1539315" y="3169770"/>
            <a:ext cx="748862" cy="7488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741F30F-1EB9-4866-A556-A4F79975B19A}"/>
              </a:ext>
            </a:extLst>
          </p:cNvPr>
          <p:cNvSpPr/>
          <p:nvPr/>
        </p:nvSpPr>
        <p:spPr>
          <a:xfrm>
            <a:off x="1521010" y="3179372"/>
            <a:ext cx="748862" cy="74886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37" name="Graphic 36" descr="Checkmark">
            <a:extLst>
              <a:ext uri="{FF2B5EF4-FFF2-40B4-BE49-F238E27FC236}">
                <a16:creationId xmlns:a16="http://schemas.microsoft.com/office/drawing/2014/main" id="{97DAE872-F231-4EBA-A26E-8C8CFA79B1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3188572"/>
            <a:ext cx="648751" cy="757147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F9C667A1-B6A3-417C-AB1C-3D67A453BA4A}"/>
              </a:ext>
            </a:extLst>
          </p:cNvPr>
          <p:cNvSpPr txBox="1"/>
          <p:nvPr/>
        </p:nvSpPr>
        <p:spPr>
          <a:xfrm>
            <a:off x="2244800" y="3313368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SQL Script in Pyth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39D7C7-D78F-4CE2-BEE2-7A28841CC200}"/>
              </a:ext>
            </a:extLst>
          </p:cNvPr>
          <p:cNvSpPr/>
          <p:nvPr/>
        </p:nvSpPr>
        <p:spPr>
          <a:xfrm>
            <a:off x="1843983" y="4217618"/>
            <a:ext cx="3658695" cy="748862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839FD77E-2F70-424C-AB0B-BD98089B89A7}"/>
              </a:ext>
            </a:extLst>
          </p:cNvPr>
          <p:cNvSpPr/>
          <p:nvPr/>
        </p:nvSpPr>
        <p:spPr>
          <a:xfrm>
            <a:off x="1539315" y="4208016"/>
            <a:ext cx="748862" cy="748862"/>
          </a:xfrm>
          <a:prstGeom prst="ellipse">
            <a:avLst/>
          </a:prstGeom>
          <a:solidFill>
            <a:schemeClr val="accent1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0DC558C4-B843-4547-B985-B998B2F13B0E}"/>
              </a:ext>
            </a:extLst>
          </p:cNvPr>
          <p:cNvSpPr/>
          <p:nvPr/>
        </p:nvSpPr>
        <p:spPr>
          <a:xfrm>
            <a:off x="1489260" y="4217618"/>
            <a:ext cx="748862" cy="748862"/>
          </a:xfrm>
          <a:prstGeom prst="ellipse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43" name="Graphic 42" descr="Checkmark">
            <a:extLst>
              <a:ext uri="{FF2B5EF4-FFF2-40B4-BE49-F238E27FC236}">
                <a16:creationId xmlns:a16="http://schemas.microsoft.com/office/drawing/2014/main" id="{EE7B47E1-8AAF-4681-B6A1-1CDD837B9F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4226818"/>
            <a:ext cx="648751" cy="757147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58EA476C-97EB-4E66-8EE3-FF0F83E021A4}"/>
              </a:ext>
            </a:extLst>
          </p:cNvPr>
          <p:cNvSpPr txBox="1"/>
          <p:nvPr/>
        </p:nvSpPr>
        <p:spPr>
          <a:xfrm>
            <a:off x="2244800" y="4351614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Run Through Fil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B2BF2DA-6A72-4B14-A4BD-B0CEE8D9EC4A}"/>
              </a:ext>
            </a:extLst>
          </p:cNvPr>
          <p:cNvSpPr/>
          <p:nvPr/>
        </p:nvSpPr>
        <p:spPr>
          <a:xfrm>
            <a:off x="1843983" y="5219175"/>
            <a:ext cx="3658695" cy="74886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A9A784DC-2C2F-41F2-8DCF-A2EFBD074317}"/>
              </a:ext>
            </a:extLst>
          </p:cNvPr>
          <p:cNvSpPr/>
          <p:nvPr/>
        </p:nvSpPr>
        <p:spPr>
          <a:xfrm>
            <a:off x="1539315" y="5209573"/>
            <a:ext cx="748862" cy="748862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03F7C0A-F978-4D52-ADA7-88E9E294CBBA}"/>
              </a:ext>
            </a:extLst>
          </p:cNvPr>
          <p:cNvSpPr/>
          <p:nvPr/>
        </p:nvSpPr>
        <p:spPr>
          <a:xfrm>
            <a:off x="1489260" y="5219175"/>
            <a:ext cx="748862" cy="748862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50" name="Graphic 49" descr="Checkmark">
            <a:extLst>
              <a:ext uri="{FF2B5EF4-FFF2-40B4-BE49-F238E27FC236}">
                <a16:creationId xmlns:a16="http://schemas.microsoft.com/office/drawing/2014/main" id="{A49C0871-A1EC-4B4E-A1EE-91B33001AC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5228375"/>
            <a:ext cx="648751" cy="757147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532F6E06-81F9-45E5-BCA6-3A9C2E1C2073}"/>
              </a:ext>
            </a:extLst>
          </p:cNvPr>
          <p:cNvSpPr txBox="1"/>
          <p:nvPr/>
        </p:nvSpPr>
        <p:spPr>
          <a:xfrm>
            <a:off x="2244800" y="5353171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Task Manag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7943DC-EE1D-4EF5-80F5-25804F99F6F4}"/>
              </a:ext>
            </a:extLst>
          </p:cNvPr>
          <p:cNvSpPr txBox="1"/>
          <p:nvPr/>
        </p:nvSpPr>
        <p:spPr>
          <a:xfrm>
            <a:off x="5573601" y="2216637"/>
            <a:ext cx="41609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I merged the three python scripts into one, long master script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BEECCD7-8EAF-4DD9-9C03-8FB2B2BB8BC4}"/>
              </a:ext>
            </a:extLst>
          </p:cNvPr>
          <p:cNvSpPr txBox="1"/>
          <p:nvPr/>
        </p:nvSpPr>
        <p:spPr>
          <a:xfrm>
            <a:off x="5573600" y="3251812"/>
            <a:ext cx="41609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I figured out a way to run complex queries in python by just opening the .</a:t>
            </a:r>
            <a:r>
              <a:rPr lang="en-US" sz="1600" dirty="0" err="1">
                <a:solidFill>
                  <a:schemeClr val="tx1">
                    <a:lumMod val="50000"/>
                  </a:schemeClr>
                </a:solidFill>
              </a:rPr>
              <a:t>sql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 file itself.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9769527-C203-4561-B18D-9D7B5434E594}"/>
              </a:ext>
            </a:extLst>
          </p:cNvPr>
          <p:cNvSpPr txBox="1"/>
          <p:nvPr/>
        </p:nvSpPr>
        <p:spPr>
          <a:xfrm>
            <a:off x="5637099" y="4290058"/>
            <a:ext cx="41609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Organized the python code so that clicking the .</a:t>
            </a:r>
            <a:r>
              <a:rPr lang="en-US" sz="1600" dirty="0" err="1">
                <a:solidFill>
                  <a:schemeClr val="tx1">
                    <a:lumMod val="50000"/>
                  </a:schemeClr>
                </a:solidFill>
              </a:rPr>
              <a:t>py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 file the process was complete.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49E5F34-A63E-4187-9E96-2D2B6D4A3CA2}"/>
              </a:ext>
            </a:extLst>
          </p:cNvPr>
          <p:cNvSpPr txBox="1"/>
          <p:nvPr/>
        </p:nvSpPr>
        <p:spPr>
          <a:xfrm>
            <a:off x="5637099" y="5291615"/>
            <a:ext cx="40974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Used windows task manager to automatically run the .</a:t>
            </a:r>
            <a:r>
              <a:rPr lang="en-US" sz="1600" dirty="0" err="1">
                <a:solidFill>
                  <a:schemeClr val="tx1">
                    <a:lumMod val="50000"/>
                  </a:schemeClr>
                </a:solidFill>
              </a:rPr>
              <a:t>py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 script daily.</a:t>
            </a:r>
          </a:p>
        </p:txBody>
      </p:sp>
    </p:spTree>
    <p:extLst>
      <p:ext uri="{BB962C8B-B14F-4D97-AF65-F5344CB8AC3E}">
        <p14:creationId xmlns:p14="http://schemas.microsoft.com/office/powerpoint/2010/main" val="3760727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Difficulties with Opportunity Hunter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Challenges Encounter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5, 2019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170971-76ED-474E-8794-09E1FBED93A1}"/>
              </a:ext>
            </a:extLst>
          </p:cNvPr>
          <p:cNvSpPr/>
          <p:nvPr/>
        </p:nvSpPr>
        <p:spPr bwMode="auto">
          <a:xfrm>
            <a:off x="8371993" y="2240946"/>
            <a:ext cx="2751260" cy="3209805"/>
          </a:xfrm>
          <a:prstGeom prst="rect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18" name="Diamond 17">
            <a:extLst>
              <a:ext uri="{FF2B5EF4-FFF2-40B4-BE49-F238E27FC236}">
                <a16:creationId xmlns:a16="http://schemas.microsoft.com/office/drawing/2014/main" id="{0FFD7AD8-63DE-40DF-A5BD-DF1C980D027D}"/>
              </a:ext>
            </a:extLst>
          </p:cNvPr>
          <p:cNvSpPr/>
          <p:nvPr/>
        </p:nvSpPr>
        <p:spPr bwMode="auto">
          <a:xfrm>
            <a:off x="10527146" y="4288930"/>
            <a:ext cx="1192213" cy="1192213"/>
          </a:xfrm>
          <a:prstGeom prst="diamond">
            <a:avLst/>
          </a:prstGeom>
          <a:solidFill>
            <a:schemeClr val="accent3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00B35C-BB68-4E8B-9B4D-36AC049279BD}"/>
              </a:ext>
            </a:extLst>
          </p:cNvPr>
          <p:cNvSpPr/>
          <p:nvPr/>
        </p:nvSpPr>
        <p:spPr>
          <a:xfrm>
            <a:off x="8510750" y="2153438"/>
            <a:ext cx="2473745" cy="263931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Variables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To make the code as modular as possible I created a lot of methods and variables, but some are redundant and can make it very confusing to read the code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DCF21F-F08C-4460-A4D7-28627D595494}"/>
              </a:ext>
            </a:extLst>
          </p:cNvPr>
          <p:cNvSpPr/>
          <p:nvPr/>
        </p:nvSpPr>
        <p:spPr bwMode="auto">
          <a:xfrm>
            <a:off x="4466767" y="2240946"/>
            <a:ext cx="2751260" cy="3209805"/>
          </a:xfrm>
          <a:prstGeom prst="rect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3" name="Diamond 22">
            <a:extLst>
              <a:ext uri="{FF2B5EF4-FFF2-40B4-BE49-F238E27FC236}">
                <a16:creationId xmlns:a16="http://schemas.microsoft.com/office/drawing/2014/main" id="{D316A2A0-5CA5-413E-9A79-3794B2BC32EE}"/>
              </a:ext>
            </a:extLst>
          </p:cNvPr>
          <p:cNvSpPr/>
          <p:nvPr/>
        </p:nvSpPr>
        <p:spPr bwMode="auto">
          <a:xfrm>
            <a:off x="6621921" y="4288930"/>
            <a:ext cx="1192213" cy="1192213"/>
          </a:xfrm>
          <a:prstGeom prst="diamond">
            <a:avLst/>
          </a:prstGeom>
          <a:solidFill>
            <a:schemeClr val="accent2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107F08A-1F6E-4BD8-8213-AC629C21F3DA}"/>
              </a:ext>
            </a:extLst>
          </p:cNvPr>
          <p:cNvSpPr/>
          <p:nvPr/>
        </p:nvSpPr>
        <p:spPr>
          <a:xfrm>
            <a:off x="4591997" y="2155882"/>
            <a:ext cx="2473745" cy="294702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Non-ASCII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Some of the sites have really weird characters, and this became a problem when converting SQL to excel. I went around this by having python eliminate all 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non-ascii characters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2127776-9F93-498C-9D77-CF8030E6CCBF}"/>
              </a:ext>
            </a:extLst>
          </p:cNvPr>
          <p:cNvSpPr/>
          <p:nvPr/>
        </p:nvSpPr>
        <p:spPr bwMode="auto">
          <a:xfrm>
            <a:off x="561543" y="2240946"/>
            <a:ext cx="2751260" cy="3209805"/>
          </a:xfrm>
          <a:prstGeom prst="rect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7" name="Diamond 26">
            <a:extLst>
              <a:ext uri="{FF2B5EF4-FFF2-40B4-BE49-F238E27FC236}">
                <a16:creationId xmlns:a16="http://schemas.microsoft.com/office/drawing/2014/main" id="{CCCEA725-911A-4791-8F7E-0CBD3B9EB03F}"/>
              </a:ext>
            </a:extLst>
          </p:cNvPr>
          <p:cNvSpPr/>
          <p:nvPr/>
        </p:nvSpPr>
        <p:spPr bwMode="auto">
          <a:xfrm>
            <a:off x="2716696" y="4288930"/>
            <a:ext cx="1192213" cy="1192213"/>
          </a:xfrm>
          <a:prstGeom prst="diamond">
            <a:avLst/>
          </a:pr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C050810-6727-4850-8687-1561F1C7F904}"/>
              </a:ext>
            </a:extLst>
          </p:cNvPr>
          <p:cNvSpPr/>
          <p:nvPr/>
        </p:nvSpPr>
        <p:spPr>
          <a:xfrm>
            <a:off x="693535" y="2165584"/>
            <a:ext cx="2473745" cy="325473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Blocked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A&amp;M’s anti spam filter is proving to be difficult, and would prevent the emails and the attachments to come through. I believe this has been fixed by IT, but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could be an additional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step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83E8C4-0A9C-4FD1-A449-564D0436B9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589" y="4578166"/>
            <a:ext cx="595326" cy="599295"/>
          </a:xfrm>
          <a:prstGeom prst="rect">
            <a:avLst/>
          </a:prstGeom>
        </p:spPr>
      </p:pic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E0862061-A165-4156-A9A5-CE3681481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7421" y="4543615"/>
            <a:ext cx="621212" cy="63384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3AA7200-E629-4A1A-B685-074D2E78C9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550" y="4606446"/>
            <a:ext cx="534962" cy="520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9321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Progressing Opportunity Hunter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Expected Next Ste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5, 2019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FD2D0B6-260F-4184-B77F-D6F619FC3842}"/>
              </a:ext>
            </a:extLst>
          </p:cNvPr>
          <p:cNvGrpSpPr/>
          <p:nvPr/>
        </p:nvGrpSpPr>
        <p:grpSpPr>
          <a:xfrm>
            <a:off x="508002" y="2093683"/>
            <a:ext cx="2287916" cy="4040387"/>
            <a:chOff x="381001" y="1570262"/>
            <a:chExt cx="1715937" cy="303029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247FC34-7D20-4ACA-8E8B-0382BC1890C5}"/>
                </a:ext>
              </a:extLst>
            </p:cNvPr>
            <p:cNvSpPr/>
            <p:nvPr/>
          </p:nvSpPr>
          <p:spPr>
            <a:xfrm>
              <a:off x="381001" y="1570262"/>
              <a:ext cx="1715937" cy="2899662"/>
            </a:xfrm>
            <a:prstGeom prst="rect">
              <a:avLst/>
            </a:prstGeom>
            <a:solidFill>
              <a:srgbClr val="002B49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7A0BADF-5D12-4FAA-A42E-E9D7029F6C62}"/>
                </a:ext>
              </a:extLst>
            </p:cNvPr>
            <p:cNvSpPr/>
            <p:nvPr/>
          </p:nvSpPr>
          <p:spPr>
            <a:xfrm>
              <a:off x="381001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40E4C2C-3646-4B64-824F-3E36C209D38C}"/>
              </a:ext>
            </a:extLst>
          </p:cNvPr>
          <p:cNvGrpSpPr/>
          <p:nvPr/>
        </p:nvGrpSpPr>
        <p:grpSpPr>
          <a:xfrm>
            <a:off x="3464635" y="2093683"/>
            <a:ext cx="2287916" cy="4040387"/>
            <a:chOff x="2598476" y="1570262"/>
            <a:chExt cx="1715937" cy="303029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C4EE248-00C7-4341-A2EE-3F7849F3DA7A}"/>
                </a:ext>
              </a:extLst>
            </p:cNvPr>
            <p:cNvSpPr/>
            <p:nvPr/>
          </p:nvSpPr>
          <p:spPr>
            <a:xfrm>
              <a:off x="2598476" y="1570262"/>
              <a:ext cx="1715937" cy="2899662"/>
            </a:xfrm>
            <a:prstGeom prst="rect">
              <a:avLst/>
            </a:prstGeom>
            <a:solidFill>
              <a:srgbClr val="0085CA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EC54D6A-FDD7-4698-BBA2-BDDA20E98F54}"/>
                </a:ext>
              </a:extLst>
            </p:cNvPr>
            <p:cNvSpPr/>
            <p:nvPr/>
          </p:nvSpPr>
          <p:spPr>
            <a:xfrm>
              <a:off x="2598476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5801F6B-3A28-4EE1-8841-12B2A099D98E}"/>
              </a:ext>
            </a:extLst>
          </p:cNvPr>
          <p:cNvGrpSpPr/>
          <p:nvPr/>
        </p:nvGrpSpPr>
        <p:grpSpPr>
          <a:xfrm>
            <a:off x="6421269" y="2093683"/>
            <a:ext cx="2287916" cy="4040387"/>
            <a:chOff x="4815951" y="1570262"/>
            <a:chExt cx="1715937" cy="303029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04D0321-BE94-42E0-8ACF-9D10833DC4E1}"/>
                </a:ext>
              </a:extLst>
            </p:cNvPr>
            <p:cNvSpPr/>
            <p:nvPr/>
          </p:nvSpPr>
          <p:spPr>
            <a:xfrm>
              <a:off x="4815951" y="1570262"/>
              <a:ext cx="1715937" cy="289966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39D15FE-0D3E-48CE-B781-1AA6A2E50E43}"/>
                </a:ext>
              </a:extLst>
            </p:cNvPr>
            <p:cNvSpPr/>
            <p:nvPr/>
          </p:nvSpPr>
          <p:spPr>
            <a:xfrm>
              <a:off x="4815951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4505A5C-343D-475D-A9C2-D1E4B8F520DC}"/>
              </a:ext>
            </a:extLst>
          </p:cNvPr>
          <p:cNvGrpSpPr/>
          <p:nvPr/>
        </p:nvGrpSpPr>
        <p:grpSpPr>
          <a:xfrm>
            <a:off x="9377901" y="2093683"/>
            <a:ext cx="2287917" cy="4040387"/>
            <a:chOff x="7033426" y="1570262"/>
            <a:chExt cx="1715938" cy="3030290"/>
          </a:xfrm>
          <a:solidFill>
            <a:schemeClr val="accent2">
              <a:lumMod val="75000"/>
            </a:schemeClr>
          </a:solidFill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448332A-5C93-438C-8F86-BBDC7335CE83}"/>
                </a:ext>
              </a:extLst>
            </p:cNvPr>
            <p:cNvSpPr/>
            <p:nvPr/>
          </p:nvSpPr>
          <p:spPr>
            <a:xfrm>
              <a:off x="7033426" y="1570262"/>
              <a:ext cx="1715937" cy="28996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992DC57-216B-4FD3-8BBC-4371DBEDDF02}"/>
                </a:ext>
              </a:extLst>
            </p:cNvPr>
            <p:cNvSpPr/>
            <p:nvPr/>
          </p:nvSpPr>
          <p:spPr>
            <a:xfrm>
              <a:off x="7033427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C11FE841-5E90-4B68-A0EA-81F25410C445}"/>
              </a:ext>
            </a:extLst>
          </p:cNvPr>
          <p:cNvSpPr/>
          <p:nvPr/>
        </p:nvSpPr>
        <p:spPr bwMode="auto">
          <a:xfrm>
            <a:off x="856344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A64E1DB-A270-4EA0-83C8-239B209FA87B}"/>
              </a:ext>
            </a:extLst>
          </p:cNvPr>
          <p:cNvSpPr/>
          <p:nvPr/>
        </p:nvSpPr>
        <p:spPr>
          <a:xfrm>
            <a:off x="508002" y="3990806"/>
            <a:ext cx="2287917" cy="19622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Figure out Relevance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Create a Top 5 Daily Jobs for the team, based on what jobs are relevant for the team. Need to create ranking system.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33A3FA4-37E9-4AC9-A5CF-8943785B1FE4}"/>
              </a:ext>
            </a:extLst>
          </p:cNvPr>
          <p:cNvSpPr/>
          <p:nvPr/>
        </p:nvSpPr>
        <p:spPr bwMode="auto">
          <a:xfrm>
            <a:off x="3812977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C4E0133-B069-49FC-A163-3CB3E3CD012E}"/>
              </a:ext>
            </a:extLst>
          </p:cNvPr>
          <p:cNvSpPr/>
          <p:nvPr/>
        </p:nvSpPr>
        <p:spPr>
          <a:xfrm>
            <a:off x="3464635" y="3990807"/>
            <a:ext cx="2287917" cy="19622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Implement ML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  <a:latin typeface="+mj-lt"/>
              </a:rPr>
              <a:t>Parse through previous jobs to figure out valuable keywords, and then add weight to them in the search.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D2149F5-35DC-487A-AA91-3B4249ED9C73}"/>
              </a:ext>
            </a:extLst>
          </p:cNvPr>
          <p:cNvSpPr/>
          <p:nvPr/>
        </p:nvSpPr>
        <p:spPr bwMode="auto">
          <a:xfrm>
            <a:off x="6769611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F450760-7C7A-441B-A23F-510EF3505008}"/>
              </a:ext>
            </a:extLst>
          </p:cNvPr>
          <p:cNvSpPr/>
          <p:nvPr/>
        </p:nvSpPr>
        <p:spPr>
          <a:xfrm>
            <a:off x="6421268" y="3990807"/>
            <a:ext cx="2287917" cy="19622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914400">
              <a:lnSpc>
                <a:spcPct val="150000"/>
              </a:lnSpc>
            </a:pPr>
            <a:r>
              <a:rPr lang="en-US" sz="1600" b="1" dirty="0">
                <a:solidFill>
                  <a:prstClr val="white"/>
                </a:solidFill>
              </a:rPr>
              <a:t>Add More Sites</a:t>
            </a:r>
          </a:p>
          <a:p>
            <a:pPr lvl="0" algn="ctr" defTabSz="914400">
              <a:lnSpc>
                <a:spcPct val="150000"/>
              </a:lnSpc>
            </a:pPr>
            <a:r>
              <a:rPr lang="en-US" sz="1333" dirty="0">
                <a:solidFill>
                  <a:prstClr val="white"/>
                </a:solidFill>
              </a:rPr>
              <a:t>I would like to add the networking sites and see how they could be added into the system, this could be difficult though.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E84BB79-491B-4EC0-8EA6-2D05ECB6AA83}"/>
              </a:ext>
            </a:extLst>
          </p:cNvPr>
          <p:cNvSpPr/>
          <p:nvPr/>
        </p:nvSpPr>
        <p:spPr bwMode="auto">
          <a:xfrm>
            <a:off x="9726244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8CC1944-6DDB-486B-A148-17C7D0973986}"/>
              </a:ext>
            </a:extLst>
          </p:cNvPr>
          <p:cNvSpPr/>
          <p:nvPr/>
        </p:nvSpPr>
        <p:spPr>
          <a:xfrm>
            <a:off x="9377902" y="3990806"/>
            <a:ext cx="2287917" cy="19622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Run Faster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  <a:latin typeface="+mj-lt"/>
              </a:rPr>
              <a:t>The Python Code was cleaned to look nicer, but it takes a large amount of time to complete, I hope to trim that down.</a:t>
            </a:r>
          </a:p>
        </p:txBody>
      </p:sp>
      <p:pic>
        <p:nvPicPr>
          <p:cNvPr id="60" name="Picture 59" descr="A picture containing shoji, building&#10;&#10;Description automatically generated">
            <a:extLst>
              <a:ext uri="{FF2B5EF4-FFF2-40B4-BE49-F238E27FC236}">
                <a16:creationId xmlns:a16="http://schemas.microsoft.com/office/drawing/2014/main" id="{0FDC3EF7-AE3B-411F-BF73-18435EE044A8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3342" y="2453050"/>
            <a:ext cx="1317764" cy="132005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4751D65-CC57-40A8-96C9-1225E564F5B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9" t="10556" r="7224" b="25504"/>
          <a:stretch/>
        </p:blipFill>
        <p:spPr>
          <a:xfrm>
            <a:off x="6926181" y="2636938"/>
            <a:ext cx="1278090" cy="9522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6CF65B0-0C4D-4297-86D7-A1E32F155C4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3" t="2749" r="7387" b="17526"/>
          <a:stretch/>
        </p:blipFill>
        <p:spPr>
          <a:xfrm>
            <a:off x="3957127" y="2563982"/>
            <a:ext cx="1302931" cy="120912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AF3DBCE-A5EC-494E-83BB-EFCDEC650B6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31" t="4399" r="10229" b="19038"/>
          <a:stretch/>
        </p:blipFill>
        <p:spPr>
          <a:xfrm>
            <a:off x="874524" y="2337915"/>
            <a:ext cx="1582246" cy="1550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756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M Pitchbook template USL">
  <a:themeElements>
    <a:clrScheme name="AM Pitchbook template USL">
      <a:dk1>
        <a:srgbClr val="767171"/>
      </a:dk1>
      <a:lt1>
        <a:sysClr val="window" lastClr="FFFFFF"/>
      </a:lt1>
      <a:dk2>
        <a:srgbClr val="969696"/>
      </a:dk2>
      <a:lt2>
        <a:srgbClr val="CF7F00"/>
      </a:lt2>
      <a:accent1>
        <a:srgbClr val="002B49"/>
      </a:accent1>
      <a:accent2>
        <a:srgbClr val="0085CA"/>
      </a:accent2>
      <a:accent3>
        <a:srgbClr val="5E8AB4"/>
      </a:accent3>
      <a:accent4>
        <a:srgbClr val="29702A"/>
      </a:accent4>
      <a:accent5>
        <a:srgbClr val="00677F"/>
      </a:accent5>
      <a:accent6>
        <a:srgbClr val="51195D"/>
      </a:accent6>
      <a:hlink>
        <a:srgbClr val="CF7F00"/>
      </a:hlink>
      <a:folHlink>
        <a:srgbClr val="51195D"/>
      </a:folHlink>
    </a:clrScheme>
    <a:fontScheme name="Arial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588" algn="ctr">
          <a:spcAft>
            <a:spcPts val="400"/>
          </a:spcAft>
          <a:defRPr sz="10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M Template USL.potx" id="{FDBD8F88-439A-4C44-A021-1B2D86D26C26}" vid="{84FDE8E5-C8B4-4EA2-89F9-97627D6524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9</TotalTime>
  <Words>502</Words>
  <Application>Microsoft Office PowerPoint</Application>
  <PresentationFormat>Widescreen</PresentationFormat>
  <Paragraphs>6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Arial Bold</vt:lpstr>
      <vt:lpstr>Calibri</vt:lpstr>
      <vt:lpstr>Helvetica</vt:lpstr>
      <vt:lpstr>Impact</vt:lpstr>
      <vt:lpstr>Segoe UI</vt:lpstr>
      <vt:lpstr>Times New Roman</vt:lpstr>
      <vt:lpstr>Wingdings</vt:lpstr>
      <vt:lpstr>AM Pitchbook template USL</vt:lpstr>
      <vt:lpstr>think-cell Slide</vt:lpstr>
      <vt:lpstr>William Hunter Weekly Update: Week of 7/15</vt:lpstr>
      <vt:lpstr>Weekly Objectives</vt:lpstr>
      <vt:lpstr>Emailing Results</vt:lpstr>
      <vt:lpstr>Cleaning Python Code</vt:lpstr>
      <vt:lpstr>Fully Automate the Process</vt:lpstr>
      <vt:lpstr>Challenges Encountered</vt:lpstr>
      <vt:lpstr>Expected 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 to: Data Analytics, Data Science, &amp; Data Visualization</dc:title>
  <dc:creator>William Hunter</dc:creator>
  <cp:lastModifiedBy>Hunter, William</cp:lastModifiedBy>
  <cp:revision>31</cp:revision>
  <dcterms:created xsi:type="dcterms:W3CDTF">2019-06-14T16:11:32Z</dcterms:created>
  <dcterms:modified xsi:type="dcterms:W3CDTF">2019-07-12T18:21:43Z</dcterms:modified>
</cp:coreProperties>
</file>